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sldIdLst>
    <p:sldId id="619" r:id="rId2"/>
    <p:sldId id="596" r:id="rId3"/>
    <p:sldId id="622" r:id="rId4"/>
    <p:sldId id="1553" r:id="rId5"/>
    <p:sldId id="1571" r:id="rId6"/>
    <p:sldId id="757" r:id="rId7"/>
    <p:sldId id="826" r:id="rId8"/>
    <p:sldId id="827" r:id="rId9"/>
    <p:sldId id="573" r:id="rId10"/>
    <p:sldId id="618" r:id="rId11"/>
    <p:sldId id="597" r:id="rId12"/>
    <p:sldId id="1570" r:id="rId13"/>
    <p:sldId id="613" r:id="rId14"/>
    <p:sldId id="330" r:id="rId15"/>
    <p:sldId id="825"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661E"/>
    <a:srgbClr val="EC816F"/>
    <a:srgbClr val="D15E4B"/>
    <a:srgbClr val="888AB7"/>
    <a:srgbClr val="C48321"/>
    <a:srgbClr val="B6482E"/>
    <a:srgbClr val="794D5E"/>
    <a:srgbClr val="8C9963"/>
    <a:srgbClr val="FFFFFF"/>
    <a:srgbClr val="4D4F5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51" autoAdjust="0"/>
    <p:restoredTop sz="78451" autoAdjust="0"/>
  </p:normalViewPr>
  <p:slideViewPr>
    <p:cSldViewPr snapToGrid="0" snapToObjects="1">
      <p:cViewPr varScale="1">
        <p:scale>
          <a:sx n="53" d="100"/>
          <a:sy n="53" d="100"/>
        </p:scale>
        <p:origin x="984" y="4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93" d="100"/>
        <a:sy n="93" d="100"/>
      </p:scale>
      <p:origin x="0" y="0"/>
    </p:cViewPr>
  </p:sorterViewPr>
  <p:notesViewPr>
    <p:cSldViewPr snapToGrid="0" snapToObjects="1">
      <p:cViewPr varScale="1">
        <p:scale>
          <a:sx n="116" d="100"/>
          <a:sy n="116" d="100"/>
        </p:scale>
        <p:origin x="4828"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4EB82F-AEAE-4014-9A16-4D5CB5EE8EA3}" type="doc">
      <dgm:prSet loTypeId="urn:microsoft.com/office/officeart/2011/layout/CircleProcess" loCatId="process" qsTypeId="urn:microsoft.com/office/officeart/2005/8/quickstyle/simple1" qsCatId="simple" csTypeId="urn:microsoft.com/office/officeart/2005/8/colors/colorful3" csCatId="colorful" phldr="1"/>
      <dgm:spPr/>
      <dgm:t>
        <a:bodyPr/>
        <a:lstStyle/>
        <a:p>
          <a:endParaRPr lang="en-US"/>
        </a:p>
      </dgm:t>
    </dgm:pt>
    <dgm:pt modelId="{220202BA-B256-428C-97F4-AC9E8452B25E}">
      <dgm:prSet phldrT="[Text]" custT="1"/>
      <dgm:spPr>
        <a:xfrm>
          <a:off x="2491844"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958423"/>
              <a:satOff val="238"/>
              <a:lumOff val="15842"/>
              <a:alphaOff val="0"/>
            </a:srgbClr>
          </a:solidFill>
          <a:prstDash val="solid"/>
        </a:ln>
        <a:effectLst/>
      </dgm:spPr>
      <dgm:t>
        <a:bodyPr/>
        <a:lstStyle/>
        <a:p>
          <a:pPr>
            <a:buNone/>
          </a:pPr>
          <a:r>
            <a:rPr lang="en-US" sz="1400" b="1" dirty="0">
              <a:solidFill>
                <a:srgbClr val="199BD2"/>
              </a:solidFill>
              <a:latin typeface="Arial"/>
              <a:ea typeface="+mn-ea"/>
              <a:cs typeface="+mn-cs"/>
            </a:rPr>
            <a:t>Register</a:t>
          </a:r>
        </a:p>
      </dgm:t>
    </dgm:pt>
    <dgm:pt modelId="{F28DE075-AE3B-4F94-BE73-F0D44C175880}" type="parTrans" cxnId="{A7579148-CCC4-4D7C-971E-DA959CF8F214}">
      <dgm:prSet/>
      <dgm:spPr/>
      <dgm:t>
        <a:bodyPr/>
        <a:lstStyle/>
        <a:p>
          <a:endParaRPr lang="en-US"/>
        </a:p>
      </dgm:t>
    </dgm:pt>
    <dgm:pt modelId="{F8E4576A-3D7A-4A2A-8BC8-EC1FFDEC7058}" type="sibTrans" cxnId="{A7579148-CCC4-4D7C-971E-DA959CF8F214}">
      <dgm:prSet/>
      <dgm:spPr/>
      <dgm:t>
        <a:bodyPr/>
        <a:lstStyle/>
        <a:p>
          <a:endParaRPr lang="en-US"/>
        </a:p>
      </dgm:t>
    </dgm:pt>
    <dgm:pt modelId="{E2174253-DA2E-41C1-8A30-3BEE74B7D735}">
      <dgm:prSet phldrT="[Text]" custT="1"/>
      <dgm:spPr>
        <a:xfrm>
          <a:off x="4432724"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718817"/>
              <a:satOff val="178"/>
              <a:lumOff val="11882"/>
              <a:alphaOff val="0"/>
            </a:srgbClr>
          </a:solidFill>
          <a:prstDash val="solid"/>
        </a:ln>
        <a:effectLst/>
      </dgm:spPr>
      <dgm:t>
        <a:bodyPr/>
        <a:lstStyle/>
        <a:p>
          <a:pPr>
            <a:buNone/>
          </a:pPr>
          <a:r>
            <a:rPr lang="en-US" sz="1400" b="1" dirty="0">
              <a:solidFill>
                <a:srgbClr val="199BD2"/>
              </a:solidFill>
              <a:latin typeface="Arial"/>
              <a:ea typeface="+mn-ea"/>
              <a:cs typeface="+mn-cs"/>
            </a:rPr>
            <a:t>Manage Data</a:t>
          </a:r>
        </a:p>
      </dgm:t>
    </dgm:pt>
    <dgm:pt modelId="{C0E70E38-5CD9-47F4-997C-EDB228A45107}" type="parTrans" cxnId="{44BC3B45-4536-4D55-BECD-68E5D1DA3ACE}">
      <dgm:prSet/>
      <dgm:spPr/>
      <dgm:t>
        <a:bodyPr/>
        <a:lstStyle/>
        <a:p>
          <a:endParaRPr lang="en-US"/>
        </a:p>
      </dgm:t>
    </dgm:pt>
    <dgm:pt modelId="{EB1FCFB6-231A-4FB6-BC15-BD7E707B73F5}" type="sibTrans" cxnId="{44BC3B45-4536-4D55-BECD-68E5D1DA3ACE}">
      <dgm:prSet/>
      <dgm:spPr/>
      <dgm:t>
        <a:bodyPr/>
        <a:lstStyle/>
        <a:p>
          <a:endParaRPr lang="en-US"/>
        </a:p>
      </dgm:t>
    </dgm:pt>
    <dgm:pt modelId="{9D10BD09-8530-4430-9FF6-7D2BCEA8BAC3}">
      <dgm:prSet phldrT="[Text]" custT="1"/>
      <dgm:spPr>
        <a:xfrm>
          <a:off x="8314484"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239606"/>
              <a:satOff val="59"/>
              <a:lumOff val="3961"/>
              <a:alphaOff val="0"/>
            </a:srgbClr>
          </a:solidFill>
          <a:prstDash val="solid"/>
        </a:ln>
        <a:effectLst/>
      </dgm:spPr>
      <dgm:t>
        <a:bodyPr/>
        <a:lstStyle/>
        <a:p>
          <a:pPr>
            <a:buNone/>
          </a:pPr>
          <a:r>
            <a:rPr lang="en-US" sz="1400" b="1" dirty="0">
              <a:solidFill>
                <a:srgbClr val="199BD2"/>
              </a:solidFill>
              <a:latin typeface="Arial"/>
              <a:ea typeface="+mn-ea"/>
              <a:cs typeface="+mn-cs"/>
            </a:rPr>
            <a:t>Remit Payments</a:t>
          </a:r>
        </a:p>
      </dgm:t>
    </dgm:pt>
    <dgm:pt modelId="{203168D1-7B60-4E49-8C12-1B82D61B6543}" type="parTrans" cxnId="{C4460128-5D20-4511-940E-B9CB44B7ADAD}">
      <dgm:prSet/>
      <dgm:spPr/>
      <dgm:t>
        <a:bodyPr/>
        <a:lstStyle/>
        <a:p>
          <a:endParaRPr lang="en-US"/>
        </a:p>
      </dgm:t>
    </dgm:pt>
    <dgm:pt modelId="{E23CA5A5-1B78-47D7-9CA7-9368F128E8C7}" type="sibTrans" cxnId="{C4460128-5D20-4511-940E-B9CB44B7ADAD}">
      <dgm:prSet/>
      <dgm:spPr/>
      <dgm:t>
        <a:bodyPr/>
        <a:lstStyle/>
        <a:p>
          <a:endParaRPr lang="en-US"/>
        </a:p>
      </dgm:t>
    </dgm:pt>
    <dgm:pt modelId="{51E29452-0489-4548-B956-73B791D95BD2}">
      <dgm:prSet custT="1"/>
      <dgm:spPr>
        <a:xfrm>
          <a:off x="6373604"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479212"/>
              <a:satOff val="119"/>
              <a:lumOff val="7921"/>
              <a:alphaOff val="0"/>
            </a:srgbClr>
          </a:solidFill>
          <a:prstDash val="solid"/>
        </a:ln>
        <a:effectLst/>
      </dgm:spPr>
      <dgm:t>
        <a:bodyPr/>
        <a:lstStyle/>
        <a:p>
          <a:pPr>
            <a:buNone/>
          </a:pPr>
          <a:r>
            <a:rPr lang="en-US" sz="1400" b="1" dirty="0">
              <a:solidFill>
                <a:srgbClr val="199BD2"/>
              </a:solidFill>
              <a:latin typeface="Arial"/>
              <a:ea typeface="+mn-ea"/>
              <a:cs typeface="+mn-cs"/>
            </a:rPr>
            <a:t>Prep/File Returns</a:t>
          </a:r>
        </a:p>
      </dgm:t>
    </dgm:pt>
    <dgm:pt modelId="{559303F5-D141-4977-81DE-4CB4CC6462AB}" type="parTrans" cxnId="{B4C4BF7B-41D6-4256-91B6-B6E9C25E15A0}">
      <dgm:prSet/>
      <dgm:spPr/>
      <dgm:t>
        <a:bodyPr/>
        <a:lstStyle/>
        <a:p>
          <a:endParaRPr lang="en-US"/>
        </a:p>
      </dgm:t>
    </dgm:pt>
    <dgm:pt modelId="{67E2B786-DA4C-47CD-B23A-797A905C4B72}" type="sibTrans" cxnId="{B4C4BF7B-41D6-4256-91B6-B6E9C25E15A0}">
      <dgm:prSet/>
      <dgm:spPr/>
      <dgm:t>
        <a:bodyPr/>
        <a:lstStyle/>
        <a:p>
          <a:endParaRPr lang="en-US"/>
        </a:p>
      </dgm:t>
    </dgm:pt>
    <dgm:pt modelId="{B3582C15-EAA8-41DF-9308-A9E3B0D68B9C}">
      <dgm:prSet custT="1"/>
      <dgm:spPr>
        <a:xfrm>
          <a:off x="10255364"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0"/>
              <a:satOff val="0"/>
              <a:lumOff val="0"/>
              <a:alphaOff val="0"/>
            </a:srgbClr>
          </a:solidFill>
          <a:prstDash val="solid"/>
        </a:ln>
        <a:effectLst/>
      </dgm:spPr>
      <dgm:t>
        <a:bodyPr/>
        <a:lstStyle/>
        <a:p>
          <a:pPr>
            <a:buNone/>
          </a:pPr>
          <a:r>
            <a:rPr lang="en-US" sz="1400" b="1" dirty="0">
              <a:solidFill>
                <a:srgbClr val="199BD2"/>
              </a:solidFill>
              <a:latin typeface="Arial"/>
              <a:ea typeface="+mn-ea"/>
              <a:cs typeface="+mn-cs"/>
            </a:rPr>
            <a:t>Manage Notices &amp; Support Audits</a:t>
          </a:r>
        </a:p>
      </dgm:t>
    </dgm:pt>
    <dgm:pt modelId="{F78C7D98-F83E-4224-B6C1-3748C6118D9F}" type="parTrans" cxnId="{26DA6C7A-AA55-47DA-96CF-55B28FBE12DE}">
      <dgm:prSet/>
      <dgm:spPr/>
      <dgm:t>
        <a:bodyPr/>
        <a:lstStyle/>
        <a:p>
          <a:endParaRPr lang="en-US"/>
        </a:p>
      </dgm:t>
    </dgm:pt>
    <dgm:pt modelId="{1003D02B-AD2E-4DFA-AAB6-5E2DEC57664E}" type="sibTrans" cxnId="{26DA6C7A-AA55-47DA-96CF-55B28FBE12DE}">
      <dgm:prSet/>
      <dgm:spPr/>
      <dgm:t>
        <a:bodyPr/>
        <a:lstStyle/>
        <a:p>
          <a:endParaRPr lang="en-US"/>
        </a:p>
      </dgm:t>
    </dgm:pt>
    <dgm:pt modelId="{7F426A34-A412-4D54-B94A-428FE527ADF0}">
      <dgm:prSet custT="1"/>
      <dgm:spPr>
        <a:xfrm>
          <a:off x="549770" y="913890"/>
          <a:ext cx="1753476" cy="1753200"/>
        </a:xfrm>
        <a:prstGeom prst="ellipse">
          <a:avLst/>
        </a:prstGeom>
        <a:solidFill>
          <a:sysClr val="window" lastClr="FFFFFF">
            <a:alpha val="90000"/>
            <a:hueOff val="0"/>
            <a:satOff val="0"/>
            <a:lumOff val="0"/>
            <a:alphaOff val="0"/>
          </a:sysClr>
        </a:solidFill>
        <a:ln w="25400" cap="flat" cmpd="sng" algn="ctr">
          <a:solidFill>
            <a:srgbClr val="5F6062">
              <a:hueOff val="1198029"/>
              <a:satOff val="297"/>
              <a:lumOff val="19803"/>
              <a:alphaOff val="0"/>
            </a:srgbClr>
          </a:solidFill>
          <a:prstDash val="solid"/>
        </a:ln>
        <a:effectLst/>
      </dgm:spPr>
      <dgm:t>
        <a:bodyPr/>
        <a:lstStyle/>
        <a:p>
          <a:pPr>
            <a:buNone/>
          </a:pPr>
          <a:r>
            <a:rPr lang="en-US" sz="1400" b="1" dirty="0">
              <a:solidFill>
                <a:srgbClr val="199BD2"/>
              </a:solidFill>
              <a:latin typeface="Arial"/>
              <a:ea typeface="+mn-ea"/>
              <a:cs typeface="+mn-cs"/>
            </a:rPr>
            <a:t>Onboard</a:t>
          </a:r>
        </a:p>
      </dgm:t>
    </dgm:pt>
    <dgm:pt modelId="{5C18F09C-83CF-47AF-B06B-B225B0D097D2}" type="parTrans" cxnId="{C895DA7A-140C-49F9-86F4-AD6BF8BF6F76}">
      <dgm:prSet/>
      <dgm:spPr/>
      <dgm:t>
        <a:bodyPr/>
        <a:lstStyle/>
        <a:p>
          <a:endParaRPr lang="en-US"/>
        </a:p>
      </dgm:t>
    </dgm:pt>
    <dgm:pt modelId="{38C2DB1F-F220-45CD-B161-EA587798DD33}" type="sibTrans" cxnId="{C895DA7A-140C-49F9-86F4-AD6BF8BF6F76}">
      <dgm:prSet/>
      <dgm:spPr/>
      <dgm:t>
        <a:bodyPr/>
        <a:lstStyle/>
        <a:p>
          <a:endParaRPr lang="en-US"/>
        </a:p>
      </dgm:t>
    </dgm:pt>
    <dgm:pt modelId="{5CFE1034-030D-4136-A2E5-561CFDD696D1}" type="pres">
      <dgm:prSet presAssocID="{764EB82F-AEAE-4014-9A16-4D5CB5EE8EA3}" presName="Name0" presStyleCnt="0">
        <dgm:presLayoutVars>
          <dgm:chMax val="11"/>
          <dgm:chPref val="11"/>
          <dgm:dir/>
          <dgm:resizeHandles/>
        </dgm:presLayoutVars>
      </dgm:prSet>
      <dgm:spPr/>
    </dgm:pt>
    <dgm:pt modelId="{88D206FA-8D3E-4A87-86CB-0A0340EA738C}" type="pres">
      <dgm:prSet presAssocID="{B3582C15-EAA8-41DF-9308-A9E3B0D68B9C}" presName="Accent6" presStyleCnt="0"/>
      <dgm:spPr/>
    </dgm:pt>
    <dgm:pt modelId="{02317903-EB10-497A-96A6-C881DF5E4299}" type="pres">
      <dgm:prSet presAssocID="{B3582C15-EAA8-41DF-9308-A9E3B0D68B9C}" presName="Accent" presStyleLbl="node1" presStyleIdx="0" presStyleCnt="6"/>
      <dgm:spPr>
        <a:xfrm>
          <a:off x="10192101" y="851264"/>
          <a:ext cx="1878810" cy="1878452"/>
        </a:xfrm>
        <a:prstGeom prst="ellipse">
          <a:avLst/>
        </a:prstGeom>
        <a:solidFill>
          <a:srgbClr val="5F6062">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E58579E8-2EDD-48A0-959F-2EA13A2C12AC}" type="pres">
      <dgm:prSet presAssocID="{B3582C15-EAA8-41DF-9308-A9E3B0D68B9C}" presName="ParentBackground6" presStyleCnt="0"/>
      <dgm:spPr/>
    </dgm:pt>
    <dgm:pt modelId="{F51DA296-2617-4201-8D27-223C6CD55250}" type="pres">
      <dgm:prSet presAssocID="{B3582C15-EAA8-41DF-9308-A9E3B0D68B9C}" presName="ParentBackground" presStyleLbl="fgAcc1" presStyleIdx="0" presStyleCnt="6"/>
      <dgm:spPr/>
    </dgm:pt>
    <dgm:pt modelId="{F507EE17-C72E-42B7-A77F-92D22101186E}" type="pres">
      <dgm:prSet presAssocID="{B3582C15-EAA8-41DF-9308-A9E3B0D68B9C}" presName="Parent6" presStyleLbl="revTx" presStyleIdx="0" presStyleCnt="0">
        <dgm:presLayoutVars>
          <dgm:chMax val="1"/>
          <dgm:chPref val="1"/>
          <dgm:bulletEnabled val="1"/>
        </dgm:presLayoutVars>
      </dgm:prSet>
      <dgm:spPr/>
    </dgm:pt>
    <dgm:pt modelId="{6BC06203-7D51-4A79-85EA-B84470930904}" type="pres">
      <dgm:prSet presAssocID="{9D10BD09-8530-4430-9FF6-7D2BCEA8BAC3}" presName="Accent5" presStyleCnt="0"/>
      <dgm:spPr/>
    </dgm:pt>
    <dgm:pt modelId="{677EEA08-E782-45B1-BA6F-9EBA0C6CDF14}" type="pres">
      <dgm:prSet presAssocID="{9D10BD09-8530-4430-9FF6-7D2BCEA8BAC3}" presName="Accent" presStyleLbl="node1" presStyleIdx="1" presStyleCnt="6"/>
      <dgm:spPr>
        <a:xfrm rot="2700000">
          <a:off x="8251353" y="851053"/>
          <a:ext cx="1878545" cy="1878545"/>
        </a:xfrm>
        <a:prstGeom prst="teardrop">
          <a:avLst>
            <a:gd name="adj" fmla="val 100000"/>
          </a:avLst>
        </a:prstGeom>
        <a:solidFill>
          <a:srgbClr val="5F6062">
            <a:hueOff val="239606"/>
            <a:satOff val="59"/>
            <a:lumOff val="3961"/>
            <a:alphaOff val="0"/>
          </a:srgbClr>
        </a:solidFill>
        <a:ln w="25400" cap="flat" cmpd="sng" algn="ctr">
          <a:solidFill>
            <a:sysClr val="window" lastClr="FFFFFF">
              <a:hueOff val="0"/>
              <a:satOff val="0"/>
              <a:lumOff val="0"/>
              <a:alphaOff val="0"/>
            </a:sysClr>
          </a:solidFill>
          <a:prstDash val="solid"/>
        </a:ln>
        <a:effectLst/>
      </dgm:spPr>
    </dgm:pt>
    <dgm:pt modelId="{A5B2F291-0060-4A55-971B-BC60D903A6CF}" type="pres">
      <dgm:prSet presAssocID="{9D10BD09-8530-4430-9FF6-7D2BCEA8BAC3}" presName="ParentBackground5" presStyleCnt="0"/>
      <dgm:spPr/>
    </dgm:pt>
    <dgm:pt modelId="{D34B717F-6757-4FAE-85BC-ABAF2A32DE93}" type="pres">
      <dgm:prSet presAssocID="{9D10BD09-8530-4430-9FF6-7D2BCEA8BAC3}" presName="ParentBackground" presStyleLbl="fgAcc1" presStyleIdx="1" presStyleCnt="6"/>
      <dgm:spPr/>
    </dgm:pt>
    <dgm:pt modelId="{6B7A2887-7A82-44E6-A38B-87760EA7C7E1}" type="pres">
      <dgm:prSet presAssocID="{9D10BD09-8530-4430-9FF6-7D2BCEA8BAC3}" presName="Parent5" presStyleLbl="revTx" presStyleIdx="0" presStyleCnt="0">
        <dgm:presLayoutVars>
          <dgm:chMax val="1"/>
          <dgm:chPref val="1"/>
          <dgm:bulletEnabled val="1"/>
        </dgm:presLayoutVars>
      </dgm:prSet>
      <dgm:spPr/>
    </dgm:pt>
    <dgm:pt modelId="{464F9868-F21F-40A4-84E5-C6CDECE8DAE9}" type="pres">
      <dgm:prSet presAssocID="{51E29452-0489-4548-B956-73B791D95BD2}" presName="Accent4" presStyleCnt="0"/>
      <dgm:spPr/>
    </dgm:pt>
    <dgm:pt modelId="{C2064AF7-CA40-4556-B8D5-E8F67BBFCB63}" type="pres">
      <dgm:prSet presAssocID="{51E29452-0489-4548-B956-73B791D95BD2}" presName="Accent" presStyleLbl="node1" presStyleIdx="2" presStyleCnt="6"/>
      <dgm:spPr>
        <a:xfrm rot="2700000">
          <a:off x="6310473" y="851053"/>
          <a:ext cx="1878545" cy="1878545"/>
        </a:xfrm>
        <a:prstGeom prst="teardrop">
          <a:avLst>
            <a:gd name="adj" fmla="val 100000"/>
          </a:avLst>
        </a:prstGeom>
        <a:solidFill>
          <a:srgbClr val="5F6062">
            <a:hueOff val="479212"/>
            <a:satOff val="119"/>
            <a:lumOff val="7921"/>
            <a:alphaOff val="0"/>
          </a:srgbClr>
        </a:solidFill>
        <a:ln w="25400" cap="flat" cmpd="sng" algn="ctr">
          <a:solidFill>
            <a:sysClr val="window" lastClr="FFFFFF">
              <a:hueOff val="0"/>
              <a:satOff val="0"/>
              <a:lumOff val="0"/>
              <a:alphaOff val="0"/>
            </a:sysClr>
          </a:solidFill>
          <a:prstDash val="solid"/>
        </a:ln>
        <a:effectLst/>
      </dgm:spPr>
    </dgm:pt>
    <dgm:pt modelId="{8235D1ED-78B7-430A-B54F-BE4DCFE47FA3}" type="pres">
      <dgm:prSet presAssocID="{51E29452-0489-4548-B956-73B791D95BD2}" presName="ParentBackground4" presStyleCnt="0"/>
      <dgm:spPr/>
    </dgm:pt>
    <dgm:pt modelId="{ABC1E454-6CE8-4FD2-A43F-9E8799FD7E2F}" type="pres">
      <dgm:prSet presAssocID="{51E29452-0489-4548-B956-73B791D95BD2}" presName="ParentBackground" presStyleLbl="fgAcc1" presStyleIdx="2" presStyleCnt="6"/>
      <dgm:spPr/>
    </dgm:pt>
    <dgm:pt modelId="{04DA557B-615D-4177-805E-E2846BB317B7}" type="pres">
      <dgm:prSet presAssocID="{51E29452-0489-4548-B956-73B791D95BD2}" presName="Parent4" presStyleLbl="revTx" presStyleIdx="0" presStyleCnt="0">
        <dgm:presLayoutVars>
          <dgm:chMax val="1"/>
          <dgm:chPref val="1"/>
          <dgm:bulletEnabled val="1"/>
        </dgm:presLayoutVars>
      </dgm:prSet>
      <dgm:spPr/>
    </dgm:pt>
    <dgm:pt modelId="{E64625F6-0587-4DC4-8142-0806FFFA4CF2}" type="pres">
      <dgm:prSet presAssocID="{E2174253-DA2E-41C1-8A30-3BEE74B7D735}" presName="Accent3" presStyleCnt="0"/>
      <dgm:spPr/>
    </dgm:pt>
    <dgm:pt modelId="{4B80F324-4DA4-49B0-AA49-36634F0F6037}" type="pres">
      <dgm:prSet presAssocID="{E2174253-DA2E-41C1-8A30-3BEE74B7D735}" presName="Accent" presStyleLbl="node1" presStyleIdx="3" presStyleCnt="6"/>
      <dgm:spPr>
        <a:xfrm rot="2700000">
          <a:off x="4369593" y="851053"/>
          <a:ext cx="1878545" cy="1878545"/>
        </a:xfrm>
        <a:prstGeom prst="teardrop">
          <a:avLst>
            <a:gd name="adj" fmla="val 100000"/>
          </a:avLst>
        </a:prstGeom>
        <a:solidFill>
          <a:srgbClr val="5F6062">
            <a:hueOff val="718817"/>
            <a:satOff val="178"/>
            <a:lumOff val="11882"/>
            <a:alphaOff val="0"/>
          </a:srgbClr>
        </a:solidFill>
        <a:ln w="25400" cap="flat" cmpd="sng" algn="ctr">
          <a:solidFill>
            <a:sysClr val="window" lastClr="FFFFFF">
              <a:hueOff val="0"/>
              <a:satOff val="0"/>
              <a:lumOff val="0"/>
              <a:alphaOff val="0"/>
            </a:sysClr>
          </a:solidFill>
          <a:prstDash val="solid"/>
        </a:ln>
        <a:effectLst/>
      </dgm:spPr>
    </dgm:pt>
    <dgm:pt modelId="{D674941E-1F01-4B85-97C1-74920F915746}" type="pres">
      <dgm:prSet presAssocID="{E2174253-DA2E-41C1-8A30-3BEE74B7D735}" presName="ParentBackground3" presStyleCnt="0"/>
      <dgm:spPr/>
    </dgm:pt>
    <dgm:pt modelId="{F4F11B23-EF77-4386-97D4-B4975480E551}" type="pres">
      <dgm:prSet presAssocID="{E2174253-DA2E-41C1-8A30-3BEE74B7D735}" presName="ParentBackground" presStyleLbl="fgAcc1" presStyleIdx="3" presStyleCnt="6"/>
      <dgm:spPr/>
    </dgm:pt>
    <dgm:pt modelId="{B864304A-77D0-4FB8-9586-636C87D784A1}" type="pres">
      <dgm:prSet presAssocID="{E2174253-DA2E-41C1-8A30-3BEE74B7D735}" presName="Parent3" presStyleLbl="revTx" presStyleIdx="0" presStyleCnt="0">
        <dgm:presLayoutVars>
          <dgm:chMax val="1"/>
          <dgm:chPref val="1"/>
          <dgm:bulletEnabled val="1"/>
        </dgm:presLayoutVars>
      </dgm:prSet>
      <dgm:spPr/>
    </dgm:pt>
    <dgm:pt modelId="{CF1450CF-A6FD-4F71-9667-6D6D4A978ECA}" type="pres">
      <dgm:prSet presAssocID="{220202BA-B256-428C-97F4-AC9E8452B25E}" presName="Accent2" presStyleCnt="0"/>
      <dgm:spPr/>
    </dgm:pt>
    <dgm:pt modelId="{0255000A-028A-4058-9861-D3A2F4ACA8C0}" type="pres">
      <dgm:prSet presAssocID="{220202BA-B256-428C-97F4-AC9E8452B25E}" presName="Accent" presStyleLbl="node1" presStyleIdx="4" presStyleCnt="6"/>
      <dgm:spPr>
        <a:xfrm rot="2700000">
          <a:off x="2428713" y="851053"/>
          <a:ext cx="1878545" cy="1878545"/>
        </a:xfrm>
        <a:prstGeom prst="teardrop">
          <a:avLst>
            <a:gd name="adj" fmla="val 100000"/>
          </a:avLst>
        </a:prstGeom>
        <a:solidFill>
          <a:srgbClr val="5F6062">
            <a:hueOff val="958423"/>
            <a:satOff val="238"/>
            <a:lumOff val="15842"/>
            <a:alphaOff val="0"/>
          </a:srgbClr>
        </a:solidFill>
        <a:ln w="25400" cap="flat" cmpd="sng" algn="ctr">
          <a:solidFill>
            <a:sysClr val="window" lastClr="FFFFFF">
              <a:hueOff val="0"/>
              <a:satOff val="0"/>
              <a:lumOff val="0"/>
              <a:alphaOff val="0"/>
            </a:sysClr>
          </a:solidFill>
          <a:prstDash val="solid"/>
        </a:ln>
        <a:effectLst/>
      </dgm:spPr>
    </dgm:pt>
    <dgm:pt modelId="{B329549E-8AB6-42BE-8FD0-AEA7BBFC6B95}" type="pres">
      <dgm:prSet presAssocID="{220202BA-B256-428C-97F4-AC9E8452B25E}" presName="ParentBackground2" presStyleCnt="0"/>
      <dgm:spPr/>
    </dgm:pt>
    <dgm:pt modelId="{D92C6619-7B37-4024-BD82-92B3B8AD92F5}" type="pres">
      <dgm:prSet presAssocID="{220202BA-B256-428C-97F4-AC9E8452B25E}" presName="ParentBackground" presStyleLbl="fgAcc1" presStyleIdx="4" presStyleCnt="6"/>
      <dgm:spPr/>
    </dgm:pt>
    <dgm:pt modelId="{8C507531-2F0F-4D4D-AC57-7203795C8871}" type="pres">
      <dgm:prSet presAssocID="{220202BA-B256-428C-97F4-AC9E8452B25E}" presName="Parent2" presStyleLbl="revTx" presStyleIdx="0" presStyleCnt="0">
        <dgm:presLayoutVars>
          <dgm:chMax val="1"/>
          <dgm:chPref val="1"/>
          <dgm:bulletEnabled val="1"/>
        </dgm:presLayoutVars>
      </dgm:prSet>
      <dgm:spPr/>
    </dgm:pt>
    <dgm:pt modelId="{E174637A-4E40-4144-8CEC-602383C11997}" type="pres">
      <dgm:prSet presAssocID="{7F426A34-A412-4D54-B94A-428FE527ADF0}" presName="Accent1" presStyleCnt="0"/>
      <dgm:spPr/>
    </dgm:pt>
    <dgm:pt modelId="{D354C99F-9B10-4DFA-9603-46CFFB88BD17}" type="pres">
      <dgm:prSet presAssocID="{7F426A34-A412-4D54-B94A-428FE527ADF0}" presName="Accent" presStyleLbl="node1" presStyleIdx="5" presStyleCnt="6"/>
      <dgm:spPr>
        <a:xfrm rot="2700000">
          <a:off x="487832" y="851053"/>
          <a:ext cx="1878545" cy="1878545"/>
        </a:xfrm>
        <a:prstGeom prst="teardrop">
          <a:avLst>
            <a:gd name="adj" fmla="val 100000"/>
          </a:avLst>
        </a:prstGeom>
        <a:solidFill>
          <a:srgbClr val="5F6062">
            <a:hueOff val="1198029"/>
            <a:satOff val="297"/>
            <a:lumOff val="19803"/>
            <a:alphaOff val="0"/>
          </a:srgbClr>
        </a:solidFill>
        <a:ln w="25400" cap="flat" cmpd="sng" algn="ctr">
          <a:solidFill>
            <a:sysClr val="window" lastClr="FFFFFF">
              <a:hueOff val="0"/>
              <a:satOff val="0"/>
              <a:lumOff val="0"/>
              <a:alphaOff val="0"/>
            </a:sysClr>
          </a:solidFill>
          <a:prstDash val="solid"/>
        </a:ln>
        <a:effectLst/>
      </dgm:spPr>
    </dgm:pt>
    <dgm:pt modelId="{70F27C69-BF9E-4031-B12D-257F42C057F9}" type="pres">
      <dgm:prSet presAssocID="{7F426A34-A412-4D54-B94A-428FE527ADF0}" presName="ParentBackground1" presStyleCnt="0"/>
      <dgm:spPr/>
    </dgm:pt>
    <dgm:pt modelId="{C1060173-9B72-4AE4-AF59-A980BA661B0E}" type="pres">
      <dgm:prSet presAssocID="{7F426A34-A412-4D54-B94A-428FE527ADF0}" presName="ParentBackground" presStyleLbl="fgAcc1" presStyleIdx="5" presStyleCnt="6"/>
      <dgm:spPr/>
    </dgm:pt>
    <dgm:pt modelId="{5536DBC8-6FCD-4A39-ACDB-FBD9F2BF82CB}" type="pres">
      <dgm:prSet presAssocID="{7F426A34-A412-4D54-B94A-428FE527ADF0}" presName="Parent1" presStyleLbl="revTx" presStyleIdx="0" presStyleCnt="0">
        <dgm:presLayoutVars>
          <dgm:chMax val="1"/>
          <dgm:chPref val="1"/>
          <dgm:bulletEnabled val="1"/>
        </dgm:presLayoutVars>
      </dgm:prSet>
      <dgm:spPr/>
    </dgm:pt>
  </dgm:ptLst>
  <dgm:cxnLst>
    <dgm:cxn modelId="{296B2E01-D075-41EA-8419-FB489FF419BF}" type="presOf" srcId="{9D10BD09-8530-4430-9FF6-7D2BCEA8BAC3}" destId="{D34B717F-6757-4FAE-85BC-ABAF2A32DE93}" srcOrd="0" destOrd="0" presId="urn:microsoft.com/office/officeart/2011/layout/CircleProcess"/>
    <dgm:cxn modelId="{CC5B2D12-0913-4AB9-94B1-3CF0BDD85494}" type="presOf" srcId="{E2174253-DA2E-41C1-8A30-3BEE74B7D735}" destId="{B864304A-77D0-4FB8-9586-636C87D784A1}" srcOrd="1" destOrd="0" presId="urn:microsoft.com/office/officeart/2011/layout/CircleProcess"/>
    <dgm:cxn modelId="{A550121B-9DE5-46D8-A91F-F49ADED6727C}" type="presOf" srcId="{51E29452-0489-4548-B956-73B791D95BD2}" destId="{ABC1E454-6CE8-4FD2-A43F-9E8799FD7E2F}" srcOrd="0" destOrd="0" presId="urn:microsoft.com/office/officeart/2011/layout/CircleProcess"/>
    <dgm:cxn modelId="{C4460128-5D20-4511-940E-B9CB44B7ADAD}" srcId="{764EB82F-AEAE-4014-9A16-4D5CB5EE8EA3}" destId="{9D10BD09-8530-4430-9FF6-7D2BCEA8BAC3}" srcOrd="4" destOrd="0" parTransId="{203168D1-7B60-4E49-8C12-1B82D61B6543}" sibTransId="{E23CA5A5-1B78-47D7-9CA7-9368F128E8C7}"/>
    <dgm:cxn modelId="{C55D605D-B04F-4CDF-85C6-BE95A82D3DC6}" type="presOf" srcId="{B3582C15-EAA8-41DF-9308-A9E3B0D68B9C}" destId="{F507EE17-C72E-42B7-A77F-92D22101186E}" srcOrd="1" destOrd="0" presId="urn:microsoft.com/office/officeart/2011/layout/CircleProcess"/>
    <dgm:cxn modelId="{1028E662-3D23-4295-BBA7-04482A27ACDF}" type="presOf" srcId="{764EB82F-AEAE-4014-9A16-4D5CB5EE8EA3}" destId="{5CFE1034-030D-4136-A2E5-561CFDD696D1}" srcOrd="0" destOrd="0" presId="urn:microsoft.com/office/officeart/2011/layout/CircleProcess"/>
    <dgm:cxn modelId="{44BC3B45-4536-4D55-BECD-68E5D1DA3ACE}" srcId="{764EB82F-AEAE-4014-9A16-4D5CB5EE8EA3}" destId="{E2174253-DA2E-41C1-8A30-3BEE74B7D735}" srcOrd="2" destOrd="0" parTransId="{C0E70E38-5CD9-47F4-997C-EDB228A45107}" sibTransId="{EB1FCFB6-231A-4FB6-BC15-BD7E707B73F5}"/>
    <dgm:cxn modelId="{A7579148-CCC4-4D7C-971E-DA959CF8F214}" srcId="{764EB82F-AEAE-4014-9A16-4D5CB5EE8EA3}" destId="{220202BA-B256-428C-97F4-AC9E8452B25E}" srcOrd="1" destOrd="0" parTransId="{F28DE075-AE3B-4F94-BE73-F0D44C175880}" sibTransId="{F8E4576A-3D7A-4A2A-8BC8-EC1FFDEC7058}"/>
    <dgm:cxn modelId="{A4A92649-BE92-4B18-BFB8-136E0AEA594F}" type="presOf" srcId="{E2174253-DA2E-41C1-8A30-3BEE74B7D735}" destId="{F4F11B23-EF77-4386-97D4-B4975480E551}" srcOrd="0" destOrd="0" presId="urn:microsoft.com/office/officeart/2011/layout/CircleProcess"/>
    <dgm:cxn modelId="{4058BD72-C7CC-4F52-B183-3101215B902F}" type="presOf" srcId="{B3582C15-EAA8-41DF-9308-A9E3B0D68B9C}" destId="{F51DA296-2617-4201-8D27-223C6CD55250}" srcOrd="0" destOrd="0" presId="urn:microsoft.com/office/officeart/2011/layout/CircleProcess"/>
    <dgm:cxn modelId="{4752D072-B0CC-48F4-A0DD-BEC4CA7B8307}" type="presOf" srcId="{51E29452-0489-4548-B956-73B791D95BD2}" destId="{04DA557B-615D-4177-805E-E2846BB317B7}" srcOrd="1" destOrd="0" presId="urn:microsoft.com/office/officeart/2011/layout/CircleProcess"/>
    <dgm:cxn modelId="{C3105276-C29D-46B1-8139-8E93B12B317F}" type="presOf" srcId="{220202BA-B256-428C-97F4-AC9E8452B25E}" destId="{8C507531-2F0F-4D4D-AC57-7203795C8871}" srcOrd="1" destOrd="0" presId="urn:microsoft.com/office/officeart/2011/layout/CircleProcess"/>
    <dgm:cxn modelId="{26DA6C7A-AA55-47DA-96CF-55B28FBE12DE}" srcId="{764EB82F-AEAE-4014-9A16-4D5CB5EE8EA3}" destId="{B3582C15-EAA8-41DF-9308-A9E3B0D68B9C}" srcOrd="5" destOrd="0" parTransId="{F78C7D98-F83E-4224-B6C1-3748C6118D9F}" sibTransId="{1003D02B-AD2E-4DFA-AAB6-5E2DEC57664E}"/>
    <dgm:cxn modelId="{C895DA7A-140C-49F9-86F4-AD6BF8BF6F76}" srcId="{764EB82F-AEAE-4014-9A16-4D5CB5EE8EA3}" destId="{7F426A34-A412-4D54-B94A-428FE527ADF0}" srcOrd="0" destOrd="0" parTransId="{5C18F09C-83CF-47AF-B06B-B225B0D097D2}" sibTransId="{38C2DB1F-F220-45CD-B161-EA587798DD33}"/>
    <dgm:cxn modelId="{B4C4BF7B-41D6-4256-91B6-B6E9C25E15A0}" srcId="{764EB82F-AEAE-4014-9A16-4D5CB5EE8EA3}" destId="{51E29452-0489-4548-B956-73B791D95BD2}" srcOrd="3" destOrd="0" parTransId="{559303F5-D141-4977-81DE-4CB4CC6462AB}" sibTransId="{67E2B786-DA4C-47CD-B23A-797A905C4B72}"/>
    <dgm:cxn modelId="{1F990B94-150F-416C-87C8-932C76245E97}" type="presOf" srcId="{9D10BD09-8530-4430-9FF6-7D2BCEA8BAC3}" destId="{6B7A2887-7A82-44E6-A38B-87760EA7C7E1}" srcOrd="1" destOrd="0" presId="urn:microsoft.com/office/officeart/2011/layout/CircleProcess"/>
    <dgm:cxn modelId="{2D6116AA-F852-4BAD-8EAC-614724F7B351}" type="presOf" srcId="{220202BA-B256-428C-97F4-AC9E8452B25E}" destId="{D92C6619-7B37-4024-BD82-92B3B8AD92F5}" srcOrd="0" destOrd="0" presId="urn:microsoft.com/office/officeart/2011/layout/CircleProcess"/>
    <dgm:cxn modelId="{3BD2BEF1-E6C6-45A5-A4F5-B6DC5E310CC0}" type="presOf" srcId="{7F426A34-A412-4D54-B94A-428FE527ADF0}" destId="{C1060173-9B72-4AE4-AF59-A980BA661B0E}" srcOrd="0" destOrd="0" presId="urn:microsoft.com/office/officeart/2011/layout/CircleProcess"/>
    <dgm:cxn modelId="{03F38AF6-0D5E-4D07-BB44-B91883086C3F}" type="presOf" srcId="{7F426A34-A412-4D54-B94A-428FE527ADF0}" destId="{5536DBC8-6FCD-4A39-ACDB-FBD9F2BF82CB}" srcOrd="1" destOrd="0" presId="urn:microsoft.com/office/officeart/2011/layout/CircleProcess"/>
    <dgm:cxn modelId="{1CFCD006-73D5-47D2-B0F4-027F22578C61}" type="presParOf" srcId="{5CFE1034-030D-4136-A2E5-561CFDD696D1}" destId="{88D206FA-8D3E-4A87-86CB-0A0340EA738C}" srcOrd="0" destOrd="0" presId="urn:microsoft.com/office/officeart/2011/layout/CircleProcess"/>
    <dgm:cxn modelId="{44314CF6-5377-46B6-873F-A6F80D111A6C}" type="presParOf" srcId="{88D206FA-8D3E-4A87-86CB-0A0340EA738C}" destId="{02317903-EB10-497A-96A6-C881DF5E4299}" srcOrd="0" destOrd="0" presId="urn:microsoft.com/office/officeart/2011/layout/CircleProcess"/>
    <dgm:cxn modelId="{637115EC-97B1-4542-91B4-D48E1A519356}" type="presParOf" srcId="{5CFE1034-030D-4136-A2E5-561CFDD696D1}" destId="{E58579E8-2EDD-48A0-959F-2EA13A2C12AC}" srcOrd="1" destOrd="0" presId="urn:microsoft.com/office/officeart/2011/layout/CircleProcess"/>
    <dgm:cxn modelId="{FD4004E2-B86F-4629-A7C5-E56BB79CB2D0}" type="presParOf" srcId="{E58579E8-2EDD-48A0-959F-2EA13A2C12AC}" destId="{F51DA296-2617-4201-8D27-223C6CD55250}" srcOrd="0" destOrd="0" presId="urn:microsoft.com/office/officeart/2011/layout/CircleProcess"/>
    <dgm:cxn modelId="{1964DF67-4033-4D48-A3F5-74CC89FE096E}" type="presParOf" srcId="{5CFE1034-030D-4136-A2E5-561CFDD696D1}" destId="{F507EE17-C72E-42B7-A77F-92D22101186E}" srcOrd="2" destOrd="0" presId="urn:microsoft.com/office/officeart/2011/layout/CircleProcess"/>
    <dgm:cxn modelId="{0461B992-FCCE-421C-95CD-951601959264}" type="presParOf" srcId="{5CFE1034-030D-4136-A2E5-561CFDD696D1}" destId="{6BC06203-7D51-4A79-85EA-B84470930904}" srcOrd="3" destOrd="0" presId="urn:microsoft.com/office/officeart/2011/layout/CircleProcess"/>
    <dgm:cxn modelId="{02A0EF64-9F8A-4012-A17D-699B2600724C}" type="presParOf" srcId="{6BC06203-7D51-4A79-85EA-B84470930904}" destId="{677EEA08-E782-45B1-BA6F-9EBA0C6CDF14}" srcOrd="0" destOrd="0" presId="urn:microsoft.com/office/officeart/2011/layout/CircleProcess"/>
    <dgm:cxn modelId="{74D6AFD2-A22D-4ACA-AD28-96A3731632F2}" type="presParOf" srcId="{5CFE1034-030D-4136-A2E5-561CFDD696D1}" destId="{A5B2F291-0060-4A55-971B-BC60D903A6CF}" srcOrd="4" destOrd="0" presId="urn:microsoft.com/office/officeart/2011/layout/CircleProcess"/>
    <dgm:cxn modelId="{8F9D0784-614D-4A66-9D85-378147C3B024}" type="presParOf" srcId="{A5B2F291-0060-4A55-971B-BC60D903A6CF}" destId="{D34B717F-6757-4FAE-85BC-ABAF2A32DE93}" srcOrd="0" destOrd="0" presId="urn:microsoft.com/office/officeart/2011/layout/CircleProcess"/>
    <dgm:cxn modelId="{DBA8D12A-5227-4395-9B5E-287A0CB98229}" type="presParOf" srcId="{5CFE1034-030D-4136-A2E5-561CFDD696D1}" destId="{6B7A2887-7A82-44E6-A38B-87760EA7C7E1}" srcOrd="5" destOrd="0" presId="urn:microsoft.com/office/officeart/2011/layout/CircleProcess"/>
    <dgm:cxn modelId="{06CACCC2-9D9C-422D-926C-7ACBB1FB6061}" type="presParOf" srcId="{5CFE1034-030D-4136-A2E5-561CFDD696D1}" destId="{464F9868-F21F-40A4-84E5-C6CDECE8DAE9}" srcOrd="6" destOrd="0" presId="urn:microsoft.com/office/officeart/2011/layout/CircleProcess"/>
    <dgm:cxn modelId="{D038AF4D-E715-4F8A-AD43-CF9C6653C2DC}" type="presParOf" srcId="{464F9868-F21F-40A4-84E5-C6CDECE8DAE9}" destId="{C2064AF7-CA40-4556-B8D5-E8F67BBFCB63}" srcOrd="0" destOrd="0" presId="urn:microsoft.com/office/officeart/2011/layout/CircleProcess"/>
    <dgm:cxn modelId="{5F18A21B-E310-4B99-A405-850F69AA9302}" type="presParOf" srcId="{5CFE1034-030D-4136-A2E5-561CFDD696D1}" destId="{8235D1ED-78B7-430A-B54F-BE4DCFE47FA3}" srcOrd="7" destOrd="0" presId="urn:microsoft.com/office/officeart/2011/layout/CircleProcess"/>
    <dgm:cxn modelId="{89569277-FA87-4A8D-BC1F-B5BA8D5B97FB}" type="presParOf" srcId="{8235D1ED-78B7-430A-B54F-BE4DCFE47FA3}" destId="{ABC1E454-6CE8-4FD2-A43F-9E8799FD7E2F}" srcOrd="0" destOrd="0" presId="urn:microsoft.com/office/officeart/2011/layout/CircleProcess"/>
    <dgm:cxn modelId="{002CCAB9-7E1A-47C6-9D92-F676FDAFF542}" type="presParOf" srcId="{5CFE1034-030D-4136-A2E5-561CFDD696D1}" destId="{04DA557B-615D-4177-805E-E2846BB317B7}" srcOrd="8" destOrd="0" presId="urn:microsoft.com/office/officeart/2011/layout/CircleProcess"/>
    <dgm:cxn modelId="{21E2EE5B-B7F7-4688-AA84-7E1B3A713D73}" type="presParOf" srcId="{5CFE1034-030D-4136-A2E5-561CFDD696D1}" destId="{E64625F6-0587-4DC4-8142-0806FFFA4CF2}" srcOrd="9" destOrd="0" presId="urn:microsoft.com/office/officeart/2011/layout/CircleProcess"/>
    <dgm:cxn modelId="{A7107B37-334D-4A67-AFFE-21AD8019C1B5}" type="presParOf" srcId="{E64625F6-0587-4DC4-8142-0806FFFA4CF2}" destId="{4B80F324-4DA4-49B0-AA49-36634F0F6037}" srcOrd="0" destOrd="0" presId="urn:microsoft.com/office/officeart/2011/layout/CircleProcess"/>
    <dgm:cxn modelId="{EBA03EAA-BECF-4DB3-926C-15FAB72061DD}" type="presParOf" srcId="{5CFE1034-030D-4136-A2E5-561CFDD696D1}" destId="{D674941E-1F01-4B85-97C1-74920F915746}" srcOrd="10" destOrd="0" presId="urn:microsoft.com/office/officeart/2011/layout/CircleProcess"/>
    <dgm:cxn modelId="{368CA4F9-6502-4E07-89EB-D63124895519}" type="presParOf" srcId="{D674941E-1F01-4B85-97C1-74920F915746}" destId="{F4F11B23-EF77-4386-97D4-B4975480E551}" srcOrd="0" destOrd="0" presId="urn:microsoft.com/office/officeart/2011/layout/CircleProcess"/>
    <dgm:cxn modelId="{F7C310F2-DF19-43FF-8C59-23981A28F45B}" type="presParOf" srcId="{5CFE1034-030D-4136-A2E5-561CFDD696D1}" destId="{B864304A-77D0-4FB8-9586-636C87D784A1}" srcOrd="11" destOrd="0" presId="urn:microsoft.com/office/officeart/2011/layout/CircleProcess"/>
    <dgm:cxn modelId="{8F6565F5-BEB7-41D2-97D2-47779BB18006}" type="presParOf" srcId="{5CFE1034-030D-4136-A2E5-561CFDD696D1}" destId="{CF1450CF-A6FD-4F71-9667-6D6D4A978ECA}" srcOrd="12" destOrd="0" presId="urn:microsoft.com/office/officeart/2011/layout/CircleProcess"/>
    <dgm:cxn modelId="{29DFBC91-5D11-4FEA-876F-CC764985CE64}" type="presParOf" srcId="{CF1450CF-A6FD-4F71-9667-6D6D4A978ECA}" destId="{0255000A-028A-4058-9861-D3A2F4ACA8C0}" srcOrd="0" destOrd="0" presId="urn:microsoft.com/office/officeart/2011/layout/CircleProcess"/>
    <dgm:cxn modelId="{F345655D-1D09-4D78-8E81-B4DF16EED275}" type="presParOf" srcId="{5CFE1034-030D-4136-A2E5-561CFDD696D1}" destId="{B329549E-8AB6-42BE-8FD0-AEA7BBFC6B95}" srcOrd="13" destOrd="0" presId="urn:microsoft.com/office/officeart/2011/layout/CircleProcess"/>
    <dgm:cxn modelId="{9EE1B9E6-E987-4B24-98DA-1C62F136F10D}" type="presParOf" srcId="{B329549E-8AB6-42BE-8FD0-AEA7BBFC6B95}" destId="{D92C6619-7B37-4024-BD82-92B3B8AD92F5}" srcOrd="0" destOrd="0" presId="urn:microsoft.com/office/officeart/2011/layout/CircleProcess"/>
    <dgm:cxn modelId="{CA44B8B2-BCBB-49BE-9A9B-59B9AB08EE7F}" type="presParOf" srcId="{5CFE1034-030D-4136-A2E5-561CFDD696D1}" destId="{8C507531-2F0F-4D4D-AC57-7203795C8871}" srcOrd="14" destOrd="0" presId="urn:microsoft.com/office/officeart/2011/layout/CircleProcess"/>
    <dgm:cxn modelId="{FB87BBFE-0CCE-487E-8691-DD79DA089A29}" type="presParOf" srcId="{5CFE1034-030D-4136-A2E5-561CFDD696D1}" destId="{E174637A-4E40-4144-8CEC-602383C11997}" srcOrd="15" destOrd="0" presId="urn:microsoft.com/office/officeart/2011/layout/CircleProcess"/>
    <dgm:cxn modelId="{B8354BF9-67DE-41E5-8BC8-BEF9BE390406}" type="presParOf" srcId="{E174637A-4E40-4144-8CEC-602383C11997}" destId="{D354C99F-9B10-4DFA-9603-46CFFB88BD17}" srcOrd="0" destOrd="0" presId="urn:microsoft.com/office/officeart/2011/layout/CircleProcess"/>
    <dgm:cxn modelId="{67DC8721-E531-4E80-BB81-25D0E7827311}" type="presParOf" srcId="{5CFE1034-030D-4136-A2E5-561CFDD696D1}" destId="{70F27C69-BF9E-4031-B12D-257F42C057F9}" srcOrd="16" destOrd="0" presId="urn:microsoft.com/office/officeart/2011/layout/CircleProcess"/>
    <dgm:cxn modelId="{A407A089-352F-49AB-B060-5FF799C30E41}" type="presParOf" srcId="{70F27C69-BF9E-4031-B12D-257F42C057F9}" destId="{C1060173-9B72-4AE4-AF59-A980BA661B0E}" srcOrd="0" destOrd="0" presId="urn:microsoft.com/office/officeart/2011/layout/CircleProcess"/>
    <dgm:cxn modelId="{4C9558E2-82E2-4903-B231-0BD89327781C}" type="presParOf" srcId="{5CFE1034-030D-4136-A2E5-561CFDD696D1}" destId="{5536DBC8-6FCD-4A39-ACDB-FBD9F2BF82CB}" srcOrd="17"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317903-EB10-497A-96A6-C881DF5E4299}">
      <dsp:nvSpPr>
        <dsp:cNvPr id="0" name=""/>
        <dsp:cNvSpPr/>
      </dsp:nvSpPr>
      <dsp:spPr>
        <a:xfrm>
          <a:off x="10210960" y="808487"/>
          <a:ext cx="1882286" cy="1881928"/>
        </a:xfrm>
        <a:prstGeom prst="ellipse">
          <a:avLst/>
        </a:prstGeom>
        <a:solidFill>
          <a:srgbClr val="5F6062">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1DA296-2617-4201-8D27-223C6CD55250}">
      <dsp:nvSpPr>
        <dsp:cNvPr id="0" name=""/>
        <dsp:cNvSpPr/>
      </dsp:nvSpPr>
      <dsp:spPr>
        <a:xfrm>
          <a:off x="10274341"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Manage Notices &amp; Support Audits</a:t>
          </a:r>
        </a:p>
      </dsp:txBody>
      <dsp:txXfrm>
        <a:off x="10709183" y="1305916"/>
        <a:ext cx="887037" cy="887071"/>
      </dsp:txXfrm>
    </dsp:sp>
    <dsp:sp modelId="{677EEA08-E782-45B1-BA6F-9EBA0C6CDF14}">
      <dsp:nvSpPr>
        <dsp:cNvPr id="0" name=""/>
        <dsp:cNvSpPr/>
      </dsp:nvSpPr>
      <dsp:spPr>
        <a:xfrm rot="2700000">
          <a:off x="8266621" y="808275"/>
          <a:ext cx="1882021" cy="1882021"/>
        </a:xfrm>
        <a:prstGeom prst="teardrop">
          <a:avLst>
            <a:gd name="adj" fmla="val 100000"/>
          </a:avLst>
        </a:prstGeom>
        <a:solidFill>
          <a:srgbClr val="5F6062">
            <a:hueOff val="239606"/>
            <a:satOff val="59"/>
            <a:lumOff val="3961"/>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4B717F-6757-4FAE-85BC-ABAF2A32DE93}">
      <dsp:nvSpPr>
        <dsp:cNvPr id="0" name=""/>
        <dsp:cNvSpPr/>
      </dsp:nvSpPr>
      <dsp:spPr>
        <a:xfrm>
          <a:off x="8329869"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239606"/>
              <a:satOff val="59"/>
              <a:lumOff val="3961"/>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Remit Payments</a:t>
          </a:r>
        </a:p>
      </dsp:txBody>
      <dsp:txXfrm>
        <a:off x="8764711" y="1305916"/>
        <a:ext cx="887037" cy="887071"/>
      </dsp:txXfrm>
    </dsp:sp>
    <dsp:sp modelId="{C2064AF7-CA40-4556-B8D5-E8F67BBFCB63}">
      <dsp:nvSpPr>
        <dsp:cNvPr id="0" name=""/>
        <dsp:cNvSpPr/>
      </dsp:nvSpPr>
      <dsp:spPr>
        <a:xfrm rot="2700000">
          <a:off x="6322149" y="808275"/>
          <a:ext cx="1882021" cy="1882021"/>
        </a:xfrm>
        <a:prstGeom prst="teardrop">
          <a:avLst>
            <a:gd name="adj" fmla="val 100000"/>
          </a:avLst>
        </a:prstGeom>
        <a:solidFill>
          <a:srgbClr val="5F6062">
            <a:hueOff val="479212"/>
            <a:satOff val="119"/>
            <a:lumOff val="7921"/>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C1E454-6CE8-4FD2-A43F-9E8799FD7E2F}">
      <dsp:nvSpPr>
        <dsp:cNvPr id="0" name=""/>
        <dsp:cNvSpPr/>
      </dsp:nvSpPr>
      <dsp:spPr>
        <a:xfrm>
          <a:off x="6385398"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479212"/>
              <a:satOff val="119"/>
              <a:lumOff val="7921"/>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Prep/File Returns</a:t>
          </a:r>
        </a:p>
      </dsp:txBody>
      <dsp:txXfrm>
        <a:off x="6820240" y="1305916"/>
        <a:ext cx="887037" cy="887071"/>
      </dsp:txXfrm>
    </dsp:sp>
    <dsp:sp modelId="{4B80F324-4DA4-49B0-AA49-36634F0F6037}">
      <dsp:nvSpPr>
        <dsp:cNvPr id="0" name=""/>
        <dsp:cNvSpPr/>
      </dsp:nvSpPr>
      <dsp:spPr>
        <a:xfrm rot="2700000">
          <a:off x="4377678" y="808275"/>
          <a:ext cx="1882021" cy="1882021"/>
        </a:xfrm>
        <a:prstGeom prst="teardrop">
          <a:avLst>
            <a:gd name="adj" fmla="val 100000"/>
          </a:avLst>
        </a:prstGeom>
        <a:solidFill>
          <a:srgbClr val="5F6062">
            <a:hueOff val="718817"/>
            <a:satOff val="178"/>
            <a:lumOff val="11882"/>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F11B23-EF77-4386-97D4-B4975480E551}">
      <dsp:nvSpPr>
        <dsp:cNvPr id="0" name=""/>
        <dsp:cNvSpPr/>
      </dsp:nvSpPr>
      <dsp:spPr>
        <a:xfrm>
          <a:off x="4440926"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718817"/>
              <a:satOff val="178"/>
              <a:lumOff val="11882"/>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Manage Data</a:t>
          </a:r>
        </a:p>
      </dsp:txBody>
      <dsp:txXfrm>
        <a:off x="4874572" y="1305916"/>
        <a:ext cx="887037" cy="887071"/>
      </dsp:txXfrm>
    </dsp:sp>
    <dsp:sp modelId="{0255000A-028A-4058-9861-D3A2F4ACA8C0}">
      <dsp:nvSpPr>
        <dsp:cNvPr id="0" name=""/>
        <dsp:cNvSpPr/>
      </dsp:nvSpPr>
      <dsp:spPr>
        <a:xfrm rot="2700000">
          <a:off x="2433207" y="808275"/>
          <a:ext cx="1882021" cy="1882021"/>
        </a:xfrm>
        <a:prstGeom prst="teardrop">
          <a:avLst>
            <a:gd name="adj" fmla="val 100000"/>
          </a:avLst>
        </a:prstGeom>
        <a:solidFill>
          <a:srgbClr val="5F6062">
            <a:hueOff val="958423"/>
            <a:satOff val="238"/>
            <a:lumOff val="15842"/>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C6619-7B37-4024-BD82-92B3B8AD92F5}">
      <dsp:nvSpPr>
        <dsp:cNvPr id="0" name=""/>
        <dsp:cNvSpPr/>
      </dsp:nvSpPr>
      <dsp:spPr>
        <a:xfrm>
          <a:off x="2496455"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958423"/>
              <a:satOff val="238"/>
              <a:lumOff val="15842"/>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Register</a:t>
          </a:r>
        </a:p>
      </dsp:txBody>
      <dsp:txXfrm>
        <a:off x="2930101" y="1305916"/>
        <a:ext cx="887037" cy="887071"/>
      </dsp:txXfrm>
    </dsp:sp>
    <dsp:sp modelId="{D354C99F-9B10-4DFA-9603-46CFFB88BD17}">
      <dsp:nvSpPr>
        <dsp:cNvPr id="0" name=""/>
        <dsp:cNvSpPr/>
      </dsp:nvSpPr>
      <dsp:spPr>
        <a:xfrm rot="2700000">
          <a:off x="488735" y="808275"/>
          <a:ext cx="1882021" cy="1882021"/>
        </a:xfrm>
        <a:prstGeom prst="teardrop">
          <a:avLst>
            <a:gd name="adj" fmla="val 100000"/>
          </a:avLst>
        </a:prstGeom>
        <a:solidFill>
          <a:srgbClr val="5F6062">
            <a:hueOff val="1198029"/>
            <a:satOff val="297"/>
            <a:lumOff val="19803"/>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060173-9B72-4AE4-AF59-A980BA661B0E}">
      <dsp:nvSpPr>
        <dsp:cNvPr id="0" name=""/>
        <dsp:cNvSpPr/>
      </dsp:nvSpPr>
      <dsp:spPr>
        <a:xfrm>
          <a:off x="550787" y="871229"/>
          <a:ext cx="1756721" cy="1756444"/>
        </a:xfrm>
        <a:prstGeom prst="ellipse">
          <a:avLst/>
        </a:prstGeom>
        <a:solidFill>
          <a:sysClr val="window" lastClr="FFFFFF">
            <a:alpha val="90000"/>
            <a:hueOff val="0"/>
            <a:satOff val="0"/>
            <a:lumOff val="0"/>
            <a:alphaOff val="0"/>
          </a:sysClr>
        </a:solidFill>
        <a:ln w="25400" cap="flat" cmpd="sng" algn="ctr">
          <a:solidFill>
            <a:srgbClr val="5F6062">
              <a:hueOff val="1198029"/>
              <a:satOff val="297"/>
              <a:lumOff val="19803"/>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199BD2"/>
              </a:solidFill>
              <a:latin typeface="Arial"/>
              <a:ea typeface="+mn-ea"/>
              <a:cs typeface="+mn-cs"/>
            </a:rPr>
            <a:t>Onboard</a:t>
          </a:r>
        </a:p>
      </dsp:txBody>
      <dsp:txXfrm>
        <a:off x="985629" y="1305916"/>
        <a:ext cx="887037" cy="887071"/>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chemeClr val="tx2"/>
                </a:solidFill>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chemeClr val="tx2"/>
                </a:solidFill>
              </a:defRPr>
            </a:lvl1pPr>
          </a:lstStyle>
          <a:p>
            <a:fld id="{2956D170-933F-4CCB-BD64-BFF7F811F59D}" type="datetimeFigureOut">
              <a:rPr lang="en-US" smtClean="0"/>
              <a:pPr/>
              <a:t>7/16/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schemeClr val="bg1">
                <a:lumMod val="75000"/>
              </a:schemeClr>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2"/>
                </a:solidFill>
              </a:defRPr>
            </a:lvl1pPr>
          </a:lstStyle>
          <a:p>
            <a:fld id="{75442058-87BB-4367-BB0C-51EB5AD6270E}" type="slidenum">
              <a:rPr lang="en-US" smtClean="0"/>
              <a:pPr/>
              <a:t>‹#›</a:t>
            </a:fld>
            <a:endParaRPr lang="en-US" dirty="0"/>
          </a:p>
        </p:txBody>
      </p:sp>
    </p:spTree>
    <p:extLst>
      <p:ext uri="{BB962C8B-B14F-4D97-AF65-F5344CB8AC3E}">
        <p14:creationId xmlns:p14="http://schemas.microsoft.com/office/powerpoint/2010/main" val="1874294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1</a:t>
            </a:fld>
            <a:endParaRPr lang="en-US" dirty="0"/>
          </a:p>
        </p:txBody>
      </p:sp>
    </p:spTree>
    <p:extLst>
      <p:ext uri="{BB962C8B-B14F-4D97-AF65-F5344CB8AC3E}">
        <p14:creationId xmlns:p14="http://schemas.microsoft.com/office/powerpoint/2010/main" val="912129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1</a:t>
            </a:fld>
            <a:endParaRPr lang="en-US" dirty="0"/>
          </a:p>
        </p:txBody>
      </p:sp>
    </p:spTree>
    <p:extLst>
      <p:ext uri="{BB962C8B-B14F-4D97-AF65-F5344CB8AC3E}">
        <p14:creationId xmlns:p14="http://schemas.microsoft.com/office/powerpoint/2010/main" val="1020861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Kim (own) and Patricia to collaborate</a:t>
            </a:r>
          </a:p>
          <a:p>
            <a:endParaRPr lang="en-US" dirty="0"/>
          </a:p>
          <a:p>
            <a:r>
              <a:rPr lang="en-US" dirty="0"/>
              <a:t>Bullets in orange banner are the common themes that unite our leaders and team members.</a:t>
            </a:r>
          </a:p>
          <a:p>
            <a:endParaRPr lang="en-US" dirty="0"/>
          </a:p>
          <a:p>
            <a:r>
              <a:rPr lang="en-US" dirty="0"/>
              <a:t>End 2 End services for Compliance –  many elements common across our teams however some of the complexities and element (such as registrations) vary on how we deliver – shared services in partnership with team outside of Compliance vs. all resourced and delivered from within.</a:t>
            </a:r>
          </a:p>
          <a:p>
            <a:endParaRPr lang="en-US" dirty="0"/>
          </a:p>
          <a:p>
            <a:r>
              <a:rPr lang="en-US" dirty="0"/>
              <a:t>We are customer facing  - be it with jurisdiction or customer level responsibilities. </a:t>
            </a:r>
          </a:p>
          <a:p>
            <a:endParaRPr lang="en-US" dirty="0"/>
          </a:p>
          <a:p>
            <a:r>
              <a:rPr lang="en-US" dirty="0"/>
              <a:t>Depth and complexity across a common suite of services that each of the businesses provide.</a:t>
            </a:r>
          </a:p>
          <a:p>
            <a:endParaRPr lang="en-US" dirty="0"/>
          </a:p>
          <a:p>
            <a:r>
              <a:rPr lang="en-US" b="1" dirty="0"/>
              <a:t>Call out on Registrations  -  EMEA – VAT </a:t>
            </a:r>
            <a:r>
              <a:rPr lang="en-US" b="1" dirty="0" err="1"/>
              <a:t>regisrations</a:t>
            </a:r>
            <a:r>
              <a:rPr lang="en-US" b="1" dirty="0"/>
              <a:t>.  Kim on Lodging – both registration and renewal.  </a:t>
            </a:r>
            <a:r>
              <a:rPr lang="en-US" b="1" dirty="0" err="1"/>
              <a:t>Compli</a:t>
            </a:r>
            <a:r>
              <a:rPr lang="en-US" b="1" dirty="0"/>
              <a:t> bulk registration.   Comms does registrations.  Sales and Use Tax (AvaTax) Returns team does not do registrations – handled via Business Licenses.com (partner)</a:t>
            </a:r>
          </a:p>
          <a:p>
            <a:endParaRPr lang="en-US" b="1" dirty="0"/>
          </a:p>
          <a:p>
            <a:r>
              <a:rPr lang="en-US" b="1" dirty="0"/>
              <a:t>Risk management varies across the businesses – in the U.S. there is both filing as well and remittance/payment responsibilities that could lead to penalty &amp; interest paid by Avalara.  What about EMEA and Brazil?</a:t>
            </a:r>
          </a:p>
          <a:p>
            <a:endParaRPr lang="en-US" dirty="0"/>
          </a:p>
          <a:p>
            <a:r>
              <a:rPr lang="en-US" dirty="0"/>
              <a:t>We also build relationships with various jurisdiction – DOR Direct in the U.S. to further automation and technology is an example – where we aim for thought leadership.   Researching and resolving notices is another area where we learn from as well as share back ideas to make things easier for the jurisdiction (and tax payers).</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12</a:t>
            </a:fld>
            <a:endParaRPr lang="en-US" dirty="0"/>
          </a:p>
        </p:txBody>
      </p:sp>
    </p:spTree>
    <p:extLst>
      <p:ext uri="{BB962C8B-B14F-4D97-AF65-F5344CB8AC3E}">
        <p14:creationId xmlns:p14="http://schemas.microsoft.com/office/powerpoint/2010/main" val="41517813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3</a:t>
            </a:fld>
            <a:endParaRPr lang="en-US"/>
          </a:p>
        </p:txBody>
      </p:sp>
    </p:spTree>
    <p:extLst>
      <p:ext uri="{BB962C8B-B14F-4D97-AF65-F5344CB8AC3E}">
        <p14:creationId xmlns:p14="http://schemas.microsoft.com/office/powerpoint/2010/main" val="37228363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15</a:t>
            </a:fld>
            <a:endParaRPr lang="en-US" dirty="0"/>
          </a:p>
        </p:txBody>
      </p:sp>
    </p:spTree>
    <p:extLst>
      <p:ext uri="{BB962C8B-B14F-4D97-AF65-F5344CB8AC3E}">
        <p14:creationId xmlns:p14="http://schemas.microsoft.com/office/powerpoint/2010/main" val="1890322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2</a:t>
            </a:fld>
            <a:endParaRPr lang="en-US" dirty="0"/>
          </a:p>
        </p:txBody>
      </p:sp>
    </p:spTree>
    <p:extLst>
      <p:ext uri="{BB962C8B-B14F-4D97-AF65-F5344CB8AC3E}">
        <p14:creationId xmlns:p14="http://schemas.microsoft.com/office/powerpoint/2010/main" val="1291806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solidFill>
                <a:srgbClr val="FF0000"/>
              </a:solidFill>
            </a:endParaRPr>
          </a:p>
        </p:txBody>
      </p:sp>
      <p:sp>
        <p:nvSpPr>
          <p:cNvPr id="4" name="Slide Number Placeholder 3"/>
          <p:cNvSpPr>
            <a:spLocks noGrp="1"/>
          </p:cNvSpPr>
          <p:nvPr>
            <p:ph type="sldNum" sz="quarter" idx="5"/>
          </p:nvPr>
        </p:nvSpPr>
        <p:spPr/>
        <p:txBody>
          <a:bodyPr/>
          <a:lstStyle/>
          <a:p>
            <a:fld id="{75442058-87BB-4367-BB0C-51EB5AD6270E}" type="slidenum">
              <a:rPr lang="en-US" smtClean="0"/>
              <a:pPr/>
              <a:t>3</a:t>
            </a:fld>
            <a:endParaRPr lang="en-US" dirty="0"/>
          </a:p>
        </p:txBody>
      </p:sp>
    </p:spTree>
    <p:extLst>
      <p:ext uri="{BB962C8B-B14F-4D97-AF65-F5344CB8AC3E}">
        <p14:creationId xmlns:p14="http://schemas.microsoft.com/office/powerpoint/2010/main" val="2142757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4</a:t>
            </a:fld>
            <a:endParaRPr lang="en-US" dirty="0"/>
          </a:p>
        </p:txBody>
      </p:sp>
    </p:spTree>
    <p:extLst>
      <p:ext uri="{BB962C8B-B14F-4D97-AF65-F5344CB8AC3E}">
        <p14:creationId xmlns:p14="http://schemas.microsoft.com/office/powerpoint/2010/main" val="1915723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ichol owner </a:t>
            </a:r>
          </a:p>
          <a:p>
            <a:r>
              <a:rPr lang="en-US" b="1" dirty="0"/>
              <a:t>Liz to send wiki on Brazil - </a:t>
            </a:r>
          </a:p>
          <a:p>
            <a:endParaRPr lang="en-US" b="0" u="none" dirty="0"/>
          </a:p>
          <a:p>
            <a:r>
              <a:rPr lang="en-US" u="none" dirty="0"/>
              <a:t> </a:t>
            </a:r>
            <a:endParaRPr lang="en-US" u="sng" dirty="0"/>
          </a:p>
          <a:p>
            <a:r>
              <a:rPr lang="en-US" dirty="0"/>
              <a:t>Wayfair.vs.SD FSC decision is paving the way for states’  to swiftly adopt economic nexus, where simply selling into a state without physical presence closes a major revenue gap for many state jurisdictions.</a:t>
            </a:r>
          </a:p>
          <a:p>
            <a:pPr marL="165098" indent="-165098">
              <a:buFont typeface="Arial" panose="020B0604020202020204" pitchFamily="34" charset="0"/>
              <a:buChar char="•"/>
            </a:pPr>
            <a:endParaRPr lang="en-US" dirty="0"/>
          </a:p>
          <a:p>
            <a:r>
              <a:rPr lang="en-US" dirty="0"/>
              <a:t>In addition we have mega trends across our AvaTax, Lodging and Comms return business.  These drive the need for growth fueled by technology.</a:t>
            </a:r>
          </a:p>
          <a:p>
            <a:endParaRPr lang="en-US" dirty="0"/>
          </a:p>
          <a:p>
            <a:pPr marL="165098" indent="-165098">
              <a:buFont typeface="Arial" panose="020B0604020202020204" pitchFamily="34" charset="0"/>
              <a:buChar char="•"/>
            </a:pPr>
            <a:r>
              <a:rPr lang="en-US" dirty="0" err="1"/>
              <a:t>Avatax</a:t>
            </a:r>
            <a:r>
              <a:rPr lang="en-US" dirty="0"/>
              <a:t> – Go big, pursuing more enterprise customers as part of the overall growth strategy.  Big names and big deals – builds post IPO momentum.</a:t>
            </a:r>
          </a:p>
          <a:p>
            <a:pPr marL="165098" indent="-165098">
              <a:buFont typeface="Arial" panose="020B0604020202020204" pitchFamily="34" charset="0"/>
              <a:buChar char="•"/>
            </a:pPr>
            <a:endParaRPr lang="en-US" dirty="0"/>
          </a:p>
          <a:p>
            <a:pPr marL="165098" indent="-165098">
              <a:buFont typeface="Arial" panose="020B0604020202020204" pitchFamily="34" charset="0"/>
              <a:buChar char="•"/>
            </a:pPr>
            <a:r>
              <a:rPr lang="en-US" dirty="0"/>
              <a:t>Comms – Tier 1 transformation just off the heels of the raising a new team in Durham and ss efficiencies to enable the team to take on larger enterprise clients, as well as the pursuit of margin improvement.  This year we are adding names like  GM/</a:t>
            </a:r>
            <a:r>
              <a:rPr lang="en-US" dirty="0" err="1"/>
              <a:t>Onstar</a:t>
            </a:r>
            <a:r>
              <a:rPr lang="en-US" dirty="0"/>
              <a:t> and Sirius XM to our customer list in 2019 and 2020.</a:t>
            </a:r>
          </a:p>
          <a:p>
            <a:pPr marL="165098" indent="-165098" defTabSz="880521">
              <a:spcBef>
                <a:spcPts val="386"/>
              </a:spcBef>
              <a:buFont typeface="Arial" panose="020B0604020202020204" pitchFamily="34" charset="0"/>
              <a:buChar char="•"/>
              <a:defRPr/>
            </a:pPr>
            <a:endParaRPr lang="en-US" dirty="0"/>
          </a:p>
          <a:p>
            <a:pPr marL="165098" indent="-165098" defTabSz="880521">
              <a:spcBef>
                <a:spcPts val="386"/>
              </a:spcBef>
              <a:buFont typeface="Arial" panose="020B0604020202020204" pitchFamily="34" charset="0"/>
              <a:buChar char="•"/>
              <a:defRPr/>
            </a:pPr>
            <a:r>
              <a:rPr lang="en-US" dirty="0"/>
              <a:t>Lodging….Vast and growing market with new entrants driving new opportunities.  to list your home on multiple platforms.  Jurisdictions have increased their focus on vacation rentals compliance, adding complexity as platforms are negotiating special rates.  This is making our </a:t>
            </a:r>
            <a:r>
              <a:rPr lang="en-US" dirty="0" err="1"/>
              <a:t>MyLodge</a:t>
            </a:r>
            <a:r>
              <a:rPr lang="en-US" dirty="0"/>
              <a:t> more valuable as home owners need this service and we are the only provider servicing this market.  Huge opportunity in front of us especially as we start integrating with listing platforms and allow customers to opt in for our service from there.</a:t>
            </a:r>
          </a:p>
          <a:p>
            <a:pPr marL="165098" indent="-165098">
              <a:buFont typeface="Arial" panose="020B0604020202020204" pitchFamily="34" charset="0"/>
              <a:buChar char="•"/>
            </a:pPr>
            <a:endParaRPr lang="en-US" dirty="0"/>
          </a:p>
          <a:p>
            <a:pPr marL="165098" indent="-165098">
              <a:buFont typeface="Arial" panose="020B0604020202020204" pitchFamily="34" charset="0"/>
              <a:buChar char="•"/>
            </a:pPr>
            <a:r>
              <a:rPr lang="en-US" b="1" dirty="0"/>
              <a:t>Increasing gross margin and decreasing risk are significantly impacted by the level of product automation.</a:t>
            </a:r>
          </a:p>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5</a:t>
            </a:fld>
            <a:endParaRPr lang="en-US" dirty="0"/>
          </a:p>
        </p:txBody>
      </p:sp>
    </p:spTree>
    <p:extLst>
      <p:ext uri="{BB962C8B-B14F-4D97-AF65-F5344CB8AC3E}">
        <p14:creationId xmlns:p14="http://schemas.microsoft.com/office/powerpoint/2010/main" val="2315976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ut of 50 states &amp; territories with sales tax, 34 use ACH Credit, 14 debit, and 2 checks.</a:t>
            </a:r>
          </a:p>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6</a:t>
            </a:fld>
            <a:endParaRPr lang="en-US" dirty="0"/>
          </a:p>
        </p:txBody>
      </p:sp>
    </p:spTree>
    <p:extLst>
      <p:ext uri="{BB962C8B-B14F-4D97-AF65-F5344CB8AC3E}">
        <p14:creationId xmlns:p14="http://schemas.microsoft.com/office/powerpoint/2010/main" val="2425024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5442058-87BB-4367-BB0C-51EB5AD6270E}" type="slidenum">
              <a:rPr lang="en-US" smtClean="0"/>
              <a:pPr/>
              <a:t>7</a:t>
            </a:fld>
            <a:endParaRPr lang="en-US" dirty="0"/>
          </a:p>
        </p:txBody>
      </p:sp>
    </p:spTree>
    <p:extLst>
      <p:ext uri="{BB962C8B-B14F-4D97-AF65-F5344CB8AC3E}">
        <p14:creationId xmlns:p14="http://schemas.microsoft.com/office/powerpoint/2010/main" val="963989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otal remittance for these states in May was $260+million.</a:t>
            </a:r>
          </a:p>
          <a:p>
            <a:r>
              <a:rPr lang="en-US" dirty="0"/>
              <a:t>There were 30,293 returns in May with an associated payment.</a:t>
            </a:r>
          </a:p>
          <a:p>
            <a:r>
              <a:rPr lang="en-US" dirty="0"/>
              <a:t>	16,360 by ACH credit</a:t>
            </a:r>
          </a:p>
          <a:p>
            <a:r>
              <a:rPr lang="en-US" dirty="0"/>
              <a:t>	735 by check</a:t>
            </a:r>
          </a:p>
          <a:p>
            <a:r>
              <a:rPr lang="en-US" dirty="0"/>
              <a:t>	13,198 by debit</a:t>
            </a:r>
          </a:p>
        </p:txBody>
      </p:sp>
      <p:sp>
        <p:nvSpPr>
          <p:cNvPr id="4" name="Slide Number Placeholder 3"/>
          <p:cNvSpPr>
            <a:spLocks noGrp="1"/>
          </p:cNvSpPr>
          <p:nvPr>
            <p:ph type="sldNum" sz="quarter" idx="5"/>
          </p:nvPr>
        </p:nvSpPr>
        <p:spPr/>
        <p:txBody>
          <a:bodyPr/>
          <a:lstStyle/>
          <a:p>
            <a:fld id="{75442058-87BB-4367-BB0C-51EB5AD6270E}" type="slidenum">
              <a:rPr lang="en-US" smtClean="0"/>
              <a:pPr/>
              <a:t>8</a:t>
            </a:fld>
            <a:endParaRPr lang="en-US" dirty="0"/>
          </a:p>
        </p:txBody>
      </p:sp>
    </p:spTree>
    <p:extLst>
      <p:ext uri="{BB962C8B-B14F-4D97-AF65-F5344CB8AC3E}">
        <p14:creationId xmlns:p14="http://schemas.microsoft.com/office/powerpoint/2010/main" val="1133655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9</a:t>
            </a:fld>
            <a:endParaRPr lang="en-US"/>
          </a:p>
        </p:txBody>
      </p:sp>
    </p:spTree>
    <p:extLst>
      <p:ext uri="{BB962C8B-B14F-4D97-AF65-F5344CB8AC3E}">
        <p14:creationId xmlns:p14="http://schemas.microsoft.com/office/powerpoint/2010/main" val="2660471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pic>
        <p:nvPicPr>
          <p:cNvPr id="5" name="Picture 4">
            <a:extLst>
              <a:ext uri="{FF2B5EF4-FFF2-40B4-BE49-F238E27FC236}">
                <a16:creationId xmlns:a16="http://schemas.microsoft.com/office/drawing/2014/main" id="{7E1EDD47-0716-4809-AFFC-90B08EA1C79E}"/>
              </a:ext>
            </a:extLst>
          </p:cNvPr>
          <p:cNvPicPr>
            <a:picLocks noChangeAspect="1"/>
          </p:cNvPicPr>
          <p:nvPr userDrawn="1"/>
        </p:nvPicPr>
        <p:blipFill rotWithShape="1">
          <a:blip r:embed="rId3"/>
          <a:srcRect b="26444"/>
          <a:stretch/>
        </p:blipFill>
        <p:spPr bwMode="black">
          <a:xfrm>
            <a:off x="3904343" y="2872874"/>
            <a:ext cx="4383314" cy="1112252"/>
          </a:xfrm>
          <a:prstGeom prst="rect">
            <a:avLst/>
          </a:prstGeom>
        </p:spPr>
      </p:pic>
    </p:spTree>
    <p:extLst>
      <p:ext uri="{BB962C8B-B14F-4D97-AF65-F5344CB8AC3E}">
        <p14:creationId xmlns:p14="http://schemas.microsoft.com/office/powerpoint/2010/main" val="24839162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gue Text -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F054A3-5404-4786-A6E1-40566918E98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27958820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gue Logo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31528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gue Logo - Warm Gray">
    <p:spTree>
      <p:nvGrpSpPr>
        <p:cNvPr id="1" name=""/>
        <p:cNvGrpSpPr/>
        <p:nvPr/>
      </p:nvGrpSpPr>
      <p:grpSpPr>
        <a:xfrm>
          <a:off x="0" y="0"/>
          <a:ext cx="0" cy="0"/>
          <a:chOff x="0" y="0"/>
          <a:chExt cx="0" cy="0"/>
        </a:xfrm>
      </p:grpSpPr>
      <p:pic>
        <p:nvPicPr>
          <p:cNvPr id="10" name="Picture 9" descr="A close up of a logo&#10;&#10;Description generated with high confidence">
            <a:extLst>
              <a:ext uri="{FF2B5EF4-FFF2-40B4-BE49-F238E27FC236}">
                <a16:creationId xmlns:a16="http://schemas.microsoft.com/office/drawing/2014/main" id="{215A8D2A-CC65-4590-8C40-3C7A0B38CB1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8088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gue Logo - Purp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9A9288C-8ADC-44F8-AB52-6853708E50D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297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gue Logo - Mi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AC8DB8-A691-45FA-B780-6C182952503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5083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gue Logo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BB2A6E-BF68-4E2B-9FF6-79EC1FF1F89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0859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p:ph type="ftr" sz="quarter" idx="11"/>
          </p:nvPr>
        </p:nvSpPr>
        <p:spPr/>
        <p:txBody>
          <a:bodyPr/>
          <a:lstStyle/>
          <a:p>
            <a:r>
              <a:rPr lang="en-US" dirty="0"/>
              <a:t>©Avalara. Confidential and proprietary.</a:t>
            </a:r>
          </a:p>
        </p:txBody>
      </p:sp>
      <p:sp>
        <p:nvSpPr>
          <p:cNvPr id="4" name="Date Placeholder 3">
            <a:extLst>
              <a:ext uri="{FF2B5EF4-FFF2-40B4-BE49-F238E27FC236}">
                <a16:creationId xmlns:a16="http://schemas.microsoft.com/office/drawing/2014/main" id="{6D68D16D-50D6-424A-A87C-30D22DED9F6D}"/>
              </a:ext>
            </a:extLst>
          </p:cNvPr>
          <p:cNvSpPr>
            <a:spLocks noGrp="1"/>
          </p:cNvSpPr>
          <p:nvPr>
            <p:ph type="dt" sz="half" idx="10"/>
          </p:nvPr>
        </p:nvSpPr>
        <p:spPr/>
        <p:txBody>
          <a:bodyPr/>
          <a:lstStyle/>
          <a:p>
            <a:fld id="{C3C27A64-C38A-4C84-8E87-76DC0E5ACA93}" type="datetime1">
              <a:rPr lang="en-US" smtClean="0"/>
              <a:t>7/16/2019</a:t>
            </a:fld>
            <a:endParaRPr lang="en-US" dirty="0"/>
          </a:p>
        </p:txBody>
      </p:sp>
      <p:sp>
        <p:nvSpPr>
          <p:cNvPr id="11" name="Subtitle 2">
            <a:extLst>
              <a:ext uri="{FF2B5EF4-FFF2-40B4-BE49-F238E27FC236}">
                <a16:creationId xmlns:a16="http://schemas.microsoft.com/office/drawing/2014/main" id="{8337C91B-0531-4130-AB7D-F920693D393F}"/>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161743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F0129D2-DBD1-499D-BDCB-84277EEC2A95}"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ubtitle 2">
            <a:extLst>
              <a:ext uri="{FF2B5EF4-FFF2-40B4-BE49-F238E27FC236}">
                <a16:creationId xmlns:a16="http://schemas.microsoft.com/office/drawing/2014/main" id="{81C77327-E92F-4115-B00F-9BADAA39D178}"/>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dirty="0"/>
              <a:t>Click to edit Master title style</a:t>
            </a:r>
          </a:p>
        </p:txBody>
      </p:sp>
    </p:spTree>
    <p:extLst>
      <p:ext uri="{BB962C8B-B14F-4D97-AF65-F5344CB8AC3E}">
        <p14:creationId xmlns:p14="http://schemas.microsoft.com/office/powerpoint/2010/main" val="30182373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2FAC5BF-5013-4095-9F71-7F2900625479}"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10" name="Subtitle 2">
            <a:extLst>
              <a:ext uri="{FF2B5EF4-FFF2-40B4-BE49-F238E27FC236}">
                <a16:creationId xmlns:a16="http://schemas.microsoft.com/office/drawing/2014/main" id="{627EEA74-7DFC-4E85-A23B-774AD3F1E9E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08598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BEC56101-FEF8-4FA9-A4B0-BB46B618CA88}"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10" name="Subtitle 2">
            <a:extLst>
              <a:ext uri="{FF2B5EF4-FFF2-40B4-BE49-F238E27FC236}">
                <a16:creationId xmlns:a16="http://schemas.microsoft.com/office/drawing/2014/main" id="{80E69D0C-1979-4A76-852A-A99CA3C964FF}"/>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8768028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4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FC661E"/>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white">
          <a:xfrm>
            <a:off x="0" y="0"/>
            <a:ext cx="3475101" cy="6858000"/>
          </a:xfrm>
          <a:solidFill>
            <a:schemeClr val="bg2"/>
          </a:solidFill>
        </p:spPr>
        <p:txBody>
          <a:bodyPr anchor="ctr"/>
          <a:lstStyle>
            <a:lvl1pPr algn="ctr">
              <a:defRPr/>
            </a:lvl1pPr>
          </a:lstStyle>
          <a:p>
            <a:endParaRPr lang="en-US" dirty="0"/>
          </a:p>
        </p:txBody>
      </p:sp>
      <p:grpSp>
        <p:nvGrpSpPr>
          <p:cNvPr id="54" name="Group 53">
            <a:extLst>
              <a:ext uri="{FF2B5EF4-FFF2-40B4-BE49-F238E27FC236}">
                <a16:creationId xmlns:a16="http://schemas.microsoft.com/office/drawing/2014/main" id="{FD3605B7-998E-4B96-8131-B900C05EAFF8}"/>
              </a:ext>
            </a:extLst>
          </p:cNvPr>
          <p:cNvGrpSpPr/>
          <p:nvPr userDrawn="1"/>
        </p:nvGrpSpPr>
        <p:grpSpPr bwMode="black">
          <a:xfrm>
            <a:off x="4406900" y="965043"/>
            <a:ext cx="1943101" cy="579437"/>
            <a:chOff x="3844925" y="738188"/>
            <a:chExt cx="1943101" cy="579437"/>
          </a:xfrm>
        </p:grpSpPr>
        <p:sp>
          <p:nvSpPr>
            <p:cNvPr id="55" name="AutoShape 3">
              <a:extLst>
                <a:ext uri="{FF2B5EF4-FFF2-40B4-BE49-F238E27FC236}">
                  <a16:creationId xmlns:a16="http://schemas.microsoft.com/office/drawing/2014/main" id="{A1E078BE-2338-4EC4-B7A0-F8E178E3BDD8}"/>
                </a:ext>
              </a:extLst>
            </p:cNvPr>
            <p:cNvSpPr>
              <a:spLocks noChangeAspect="1" noChangeArrowheads="1" noTextEdit="1"/>
            </p:cNvSpPr>
            <p:nvPr/>
          </p:nvSpPr>
          <p:spPr bwMode="black">
            <a:xfrm>
              <a:off x="3844925" y="738188"/>
              <a:ext cx="19431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9">
              <a:extLst>
                <a:ext uri="{FF2B5EF4-FFF2-40B4-BE49-F238E27FC236}">
                  <a16:creationId xmlns:a16="http://schemas.microsoft.com/office/drawing/2014/main" id="{8CA09E4B-168F-4561-A3AC-13658BCA9ED2}"/>
                </a:ext>
              </a:extLst>
            </p:cNvPr>
            <p:cNvSpPr>
              <a:spLocks/>
            </p:cNvSpPr>
            <p:nvPr/>
          </p:nvSpPr>
          <p:spPr bwMode="black">
            <a:xfrm>
              <a:off x="3992563" y="919163"/>
              <a:ext cx="196850" cy="220662"/>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rgbClr val="00B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0">
              <a:extLst>
                <a:ext uri="{FF2B5EF4-FFF2-40B4-BE49-F238E27FC236}">
                  <a16:creationId xmlns:a16="http://schemas.microsoft.com/office/drawing/2014/main" id="{0DA4260F-6B26-48BD-B9E5-3AE077A53871}"/>
                </a:ext>
              </a:extLst>
            </p:cNvPr>
            <p:cNvSpPr>
              <a:spLocks/>
            </p:cNvSpPr>
            <p:nvPr/>
          </p:nvSpPr>
          <p:spPr bwMode="black">
            <a:xfrm>
              <a:off x="4856163" y="738188"/>
              <a:ext cx="98425" cy="4222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1">
              <a:extLst>
                <a:ext uri="{FF2B5EF4-FFF2-40B4-BE49-F238E27FC236}">
                  <a16:creationId xmlns:a16="http://schemas.microsoft.com/office/drawing/2014/main" id="{03BD0E31-F886-44E2-868C-B171B55AA87A}"/>
                </a:ext>
              </a:extLst>
            </p:cNvPr>
            <p:cNvSpPr>
              <a:spLocks noEditPoints="1"/>
            </p:cNvSpPr>
            <p:nvPr/>
          </p:nvSpPr>
          <p:spPr bwMode="black">
            <a:xfrm>
              <a:off x="4976813"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12">
              <a:extLst>
                <a:ext uri="{FF2B5EF4-FFF2-40B4-BE49-F238E27FC236}">
                  <a16:creationId xmlns:a16="http://schemas.microsoft.com/office/drawing/2014/main" id="{6E8CB305-6BC3-4C69-8345-34A51B652FCD}"/>
                </a:ext>
              </a:extLst>
            </p:cNvPr>
            <p:cNvSpPr>
              <a:spLocks/>
            </p:cNvSpPr>
            <p:nvPr/>
          </p:nvSpPr>
          <p:spPr bwMode="black">
            <a:xfrm>
              <a:off x="5324475" y="860425"/>
              <a:ext cx="157163" cy="29210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13">
              <a:extLst>
                <a:ext uri="{FF2B5EF4-FFF2-40B4-BE49-F238E27FC236}">
                  <a16:creationId xmlns:a16="http://schemas.microsoft.com/office/drawing/2014/main" id="{413D477C-C061-45D7-AB79-F0A12D72D580}"/>
                </a:ext>
              </a:extLst>
            </p:cNvPr>
            <p:cNvSpPr>
              <a:spLocks noEditPoints="1"/>
            </p:cNvSpPr>
            <p:nvPr/>
          </p:nvSpPr>
          <p:spPr bwMode="black">
            <a:xfrm>
              <a:off x="451008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Freeform 14">
              <a:extLst>
                <a:ext uri="{FF2B5EF4-FFF2-40B4-BE49-F238E27FC236}">
                  <a16:creationId xmlns:a16="http://schemas.microsoft.com/office/drawing/2014/main" id="{89007F37-3907-4B37-8F78-66AFF41A5F75}"/>
                </a:ext>
              </a:extLst>
            </p:cNvPr>
            <p:cNvSpPr>
              <a:spLocks noEditPoints="1"/>
            </p:cNvSpPr>
            <p:nvPr/>
          </p:nvSpPr>
          <p:spPr bwMode="black">
            <a:xfrm>
              <a:off x="549433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15">
              <a:extLst>
                <a:ext uri="{FF2B5EF4-FFF2-40B4-BE49-F238E27FC236}">
                  <a16:creationId xmlns:a16="http://schemas.microsoft.com/office/drawing/2014/main" id="{2FC17B7D-CCB2-45C9-8E75-4B1B45386A23}"/>
                </a:ext>
              </a:extLst>
            </p:cNvPr>
            <p:cNvSpPr>
              <a:spLocks/>
            </p:cNvSpPr>
            <p:nvPr/>
          </p:nvSpPr>
          <p:spPr bwMode="black">
            <a:xfrm>
              <a:off x="4132263" y="1004888"/>
              <a:ext cx="107950" cy="147637"/>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6">
              <a:extLst>
                <a:ext uri="{FF2B5EF4-FFF2-40B4-BE49-F238E27FC236}">
                  <a16:creationId xmlns:a16="http://schemas.microsoft.com/office/drawing/2014/main" id="{A4BB1907-BA3B-491D-9ACC-58F70B452793}"/>
                </a:ext>
              </a:extLst>
            </p:cNvPr>
            <p:cNvSpPr>
              <a:spLocks/>
            </p:cNvSpPr>
            <p:nvPr/>
          </p:nvSpPr>
          <p:spPr bwMode="black">
            <a:xfrm>
              <a:off x="4195763" y="866775"/>
              <a:ext cx="320675" cy="285750"/>
            </a:xfrm>
            <a:custGeom>
              <a:avLst/>
              <a:gdLst>
                <a:gd name="T0" fmla="*/ 158 w 202"/>
                <a:gd name="T1" fmla="*/ 0 h 180"/>
                <a:gd name="T2" fmla="*/ 102 w 202"/>
                <a:gd name="T3" fmla="*/ 132 h 180"/>
                <a:gd name="T4" fmla="*/ 102 w 202"/>
                <a:gd name="T5" fmla="*/ 132 h 180"/>
                <a:gd name="T6" fmla="*/ 101 w 202"/>
                <a:gd name="T7" fmla="*/ 132 h 180"/>
                <a:gd name="T8" fmla="*/ 101 w 202"/>
                <a:gd name="T9" fmla="*/ 132 h 180"/>
                <a:gd name="T10" fmla="*/ 101 w 202"/>
                <a:gd name="T11" fmla="*/ 132 h 180"/>
                <a:gd name="T12" fmla="*/ 101 w 202"/>
                <a:gd name="T13" fmla="*/ 132 h 180"/>
                <a:gd name="T14" fmla="*/ 100 w 202"/>
                <a:gd name="T15" fmla="*/ 132 h 180"/>
                <a:gd name="T16" fmla="*/ 100 w 202"/>
                <a:gd name="T17" fmla="*/ 132 h 180"/>
                <a:gd name="T18" fmla="*/ 44 w 202"/>
                <a:gd name="T19" fmla="*/ 0 h 180"/>
                <a:gd name="T20" fmla="*/ 0 w 202"/>
                <a:gd name="T21" fmla="*/ 0 h 180"/>
                <a:gd name="T22" fmla="*/ 80 w 202"/>
                <a:gd name="T23" fmla="*/ 180 h 180"/>
                <a:gd name="T24" fmla="*/ 80 w 202"/>
                <a:gd name="T25" fmla="*/ 180 h 180"/>
                <a:gd name="T26" fmla="*/ 81 w 202"/>
                <a:gd name="T27" fmla="*/ 180 h 180"/>
                <a:gd name="T28" fmla="*/ 121 w 202"/>
                <a:gd name="T29" fmla="*/ 180 h 180"/>
                <a:gd name="T30" fmla="*/ 121 w 202"/>
                <a:gd name="T31" fmla="*/ 180 h 180"/>
                <a:gd name="T32" fmla="*/ 121 w 202"/>
                <a:gd name="T33" fmla="*/ 180 h 180"/>
                <a:gd name="T34" fmla="*/ 202 w 202"/>
                <a:gd name="T35" fmla="*/ 0 h 180"/>
                <a:gd name="T36" fmla="*/ 158 w 202"/>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80">
                  <a:moveTo>
                    <a:pt x="158" y="0"/>
                  </a:moveTo>
                  <a:lnTo>
                    <a:pt x="102" y="132"/>
                  </a:lnTo>
                  <a:lnTo>
                    <a:pt x="102" y="132"/>
                  </a:lnTo>
                  <a:lnTo>
                    <a:pt x="101" y="132"/>
                  </a:lnTo>
                  <a:lnTo>
                    <a:pt x="101" y="132"/>
                  </a:lnTo>
                  <a:lnTo>
                    <a:pt x="101" y="132"/>
                  </a:lnTo>
                  <a:lnTo>
                    <a:pt x="101" y="132"/>
                  </a:lnTo>
                  <a:lnTo>
                    <a:pt x="100" y="132"/>
                  </a:lnTo>
                  <a:lnTo>
                    <a:pt x="100" y="132"/>
                  </a:lnTo>
                  <a:lnTo>
                    <a:pt x="44" y="0"/>
                  </a:lnTo>
                  <a:lnTo>
                    <a:pt x="0" y="0"/>
                  </a:lnTo>
                  <a:lnTo>
                    <a:pt x="80" y="180"/>
                  </a:lnTo>
                  <a:lnTo>
                    <a:pt x="80" y="180"/>
                  </a:lnTo>
                  <a:lnTo>
                    <a:pt x="81" y="180"/>
                  </a:lnTo>
                  <a:lnTo>
                    <a:pt x="121" y="180"/>
                  </a:lnTo>
                  <a:lnTo>
                    <a:pt x="121" y="180"/>
                  </a:lnTo>
                  <a:lnTo>
                    <a:pt x="121" y="180"/>
                  </a:lnTo>
                  <a:lnTo>
                    <a:pt x="202" y="0"/>
                  </a:lnTo>
                  <a:lnTo>
                    <a:pt x="158"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Freeform 17">
              <a:extLst>
                <a:ext uri="{FF2B5EF4-FFF2-40B4-BE49-F238E27FC236}">
                  <a16:creationId xmlns:a16="http://schemas.microsoft.com/office/drawing/2014/main" id="{0328CCCC-F2F7-4254-946E-F9106FE88215}"/>
                </a:ext>
              </a:extLst>
            </p:cNvPr>
            <p:cNvSpPr>
              <a:spLocks/>
            </p:cNvSpPr>
            <p:nvPr/>
          </p:nvSpPr>
          <p:spPr bwMode="black">
            <a:xfrm>
              <a:off x="3844925" y="754063"/>
              <a:ext cx="292100" cy="398462"/>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Tree>
    <p:extLst>
      <p:ext uri="{BB962C8B-B14F-4D97-AF65-F5344CB8AC3E}">
        <p14:creationId xmlns:p14="http://schemas.microsoft.com/office/powerpoint/2010/main" val="36678378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defRPr sz="2000"/>
            </a:lvl1pPr>
            <a:lvl2pPr>
              <a:defRPr sz="20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2780184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6269564" y="1930400"/>
            <a:ext cx="2446869" cy="3962400"/>
          </a:xfrm>
        </p:spPr>
        <p:txBody>
          <a:bodyPr/>
          <a:lstStyle>
            <a:lvl1pPr>
              <a:defRPr sz="2000"/>
            </a:lvl1pPr>
            <a:lvl2pPr>
              <a:defRPr sz="18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3475566" y="1930400"/>
            <a:ext cx="2446869" cy="3962400"/>
          </a:xfrm>
        </p:spPr>
        <p:txBody>
          <a:bodyPr/>
          <a:lstStyle>
            <a:lvl1pPr>
              <a:defRPr sz="2000"/>
            </a:lvl1pPr>
            <a:lvl2pPr>
              <a:defRPr sz="18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446869" cy="3962400"/>
          </a:xfrm>
        </p:spPr>
        <p:txBody>
          <a:bodyPr/>
          <a:lstStyle>
            <a:lvl1pPr>
              <a:defRPr sz="2000"/>
            </a:lvl1pPr>
            <a:lvl2pPr>
              <a:defRPr sz="18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
        <p:nvSpPr>
          <p:cNvPr id="59" name="Content Placeholder 2">
            <a:extLst>
              <a:ext uri="{FF2B5EF4-FFF2-40B4-BE49-F238E27FC236}">
                <a16:creationId xmlns:a16="http://schemas.microsoft.com/office/drawing/2014/main" id="{8B7A85A4-EB88-4086-8A9D-41781CDD5A62}"/>
              </a:ext>
            </a:extLst>
          </p:cNvPr>
          <p:cNvSpPr>
            <a:spLocks noGrp="1"/>
          </p:cNvSpPr>
          <p:nvPr>
            <p:ph idx="17"/>
          </p:nvPr>
        </p:nvSpPr>
        <p:spPr>
          <a:xfrm>
            <a:off x="9055097" y="1930400"/>
            <a:ext cx="2446869" cy="3962400"/>
          </a:xfrm>
        </p:spPr>
        <p:txBody>
          <a:bodyPr/>
          <a:lstStyle>
            <a:lvl1pPr>
              <a:defRPr sz="2000"/>
            </a:lvl1pPr>
            <a:lvl2pPr>
              <a:defRPr sz="1800"/>
            </a:lvl2pPr>
            <a:lvl3pPr>
              <a:defRPr sz="1600"/>
            </a:lvl3pPr>
            <a:lvl4pPr>
              <a:defRPr sz="1600"/>
            </a:lvl4pPr>
            <a:lvl5pPr>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95789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0C2E8D-6814-4170-8157-338709540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Picture Placeholder 6">
            <a:extLst>
              <a:ext uri="{FF2B5EF4-FFF2-40B4-BE49-F238E27FC236}">
                <a16:creationId xmlns:a16="http://schemas.microsoft.com/office/drawing/2014/main" id="{5A0F45E3-66D2-48BD-B6FF-DD9B13B2ACC8}"/>
              </a:ext>
            </a:extLst>
          </p:cNvPr>
          <p:cNvSpPr>
            <a:spLocks noGrp="1"/>
          </p:cNvSpPr>
          <p:nvPr>
            <p:ph type="pic" sz="quarter" idx="13"/>
          </p:nvPr>
        </p:nvSpPr>
        <p:spPr>
          <a:xfrm>
            <a:off x="1524" y="0"/>
            <a:ext cx="12188952" cy="6858000"/>
          </a:xfrm>
        </p:spPr>
        <p:txBody>
          <a:bodyPr anchor="ctr"/>
          <a:lstStyle>
            <a:lvl1pPr algn="ctr">
              <a:defRPr/>
            </a:lvl1pPr>
          </a:lstStyle>
          <a:p>
            <a:endParaRPr lang="en-US" dirty="0"/>
          </a:p>
        </p:txBody>
      </p:sp>
    </p:spTree>
    <p:extLst>
      <p:ext uri="{BB962C8B-B14F-4D97-AF65-F5344CB8AC3E}">
        <p14:creationId xmlns:p14="http://schemas.microsoft.com/office/powerpoint/2010/main" val="31655470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bwMode="black">
          <a:xfrm>
            <a:off x="1150938" y="1993889"/>
            <a:ext cx="9890125" cy="2870223"/>
          </a:xfrm>
        </p:spPr>
        <p:txBody>
          <a:bodyPr anchor="ctr">
            <a:normAutofit/>
          </a:bodyPr>
          <a:lstStyle>
            <a:lvl1pPr algn="ctr">
              <a:lnSpc>
                <a:spcPct val="100000"/>
              </a:lnSpc>
              <a:defRPr sz="4800" i="1">
                <a:solidFill>
                  <a:schemeClr val="bg1"/>
                </a:solidFill>
              </a:defRPr>
            </a:lvl1pPr>
          </a:lstStyle>
          <a:p>
            <a:r>
              <a:rPr lang="en-US" dirty="0"/>
              <a:t>Click to edit Master title style</a:t>
            </a:r>
          </a:p>
        </p:txBody>
      </p:sp>
      <p:cxnSp>
        <p:nvCxnSpPr>
          <p:cNvPr id="53" name="Straight Connector 52">
            <a:extLst>
              <a:ext uri="{FF2B5EF4-FFF2-40B4-BE49-F238E27FC236}">
                <a16:creationId xmlns:a16="http://schemas.microsoft.com/office/drawing/2014/main" id="{DA4F351B-1085-4807-854D-38088F3DC965}"/>
              </a:ext>
            </a:extLst>
          </p:cNvPr>
          <p:cNvCxnSpPr/>
          <p:nvPr userDrawn="1"/>
        </p:nvCxnSpPr>
        <p:spPr bwMode="black">
          <a:xfrm>
            <a:off x="5531970" y="5031174"/>
            <a:ext cx="112806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4592B617-5FFE-4CCB-8435-8476677B99BF}"/>
              </a:ext>
            </a:extLst>
          </p:cNvPr>
          <p:cNvSpPr>
            <a:spLocks noGrp="1"/>
          </p:cNvSpPr>
          <p:nvPr>
            <p:ph type="body" sz="quarter" idx="13" hasCustomPrompt="1"/>
          </p:nvPr>
        </p:nvSpPr>
        <p:spPr bwMode="black">
          <a:xfrm>
            <a:off x="1236592" y="5300134"/>
            <a:ext cx="9718817" cy="369332"/>
          </a:xfrm>
        </p:spPr>
        <p:txBody>
          <a:bodyPr anchor="t">
            <a:spAutoFit/>
          </a:bodyPr>
          <a:lstStyle>
            <a:lvl1pPr algn="ctr">
              <a:buNone/>
              <a:defRPr cap="all" baseline="0">
                <a:solidFill>
                  <a:schemeClr val="bg1"/>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sp>
        <p:nvSpPr>
          <p:cNvPr id="61" name="Text Placeholder 58">
            <a:extLst>
              <a:ext uri="{FF2B5EF4-FFF2-40B4-BE49-F238E27FC236}">
                <a16:creationId xmlns:a16="http://schemas.microsoft.com/office/drawing/2014/main" id="{4DEFA574-368F-44F7-A746-6B91196E8758}"/>
              </a:ext>
            </a:extLst>
          </p:cNvPr>
          <p:cNvSpPr>
            <a:spLocks noGrp="1"/>
          </p:cNvSpPr>
          <p:nvPr>
            <p:ph type="body" sz="quarter" idx="14" hasCustomPrompt="1"/>
          </p:nvPr>
        </p:nvSpPr>
        <p:spPr bwMode="black">
          <a:xfrm>
            <a:off x="1236592" y="5671608"/>
            <a:ext cx="9718817" cy="276999"/>
          </a:xfrm>
        </p:spPr>
        <p:txBody>
          <a:bodyPr anchor="t">
            <a:spAutoFit/>
          </a:bodyPr>
          <a:lstStyle>
            <a:lvl1pPr algn="ctr">
              <a:buNone/>
              <a:defRPr sz="1800" cap="all" baseline="0">
                <a:solidFill>
                  <a:srgbClr val="FC661E"/>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grpSp>
        <p:nvGrpSpPr>
          <p:cNvPr id="16" name="Group 15">
            <a:extLst>
              <a:ext uri="{FF2B5EF4-FFF2-40B4-BE49-F238E27FC236}">
                <a16:creationId xmlns:a16="http://schemas.microsoft.com/office/drawing/2014/main" id="{F8086417-5E8E-47CE-9C77-8CBAC1028514}"/>
              </a:ext>
            </a:extLst>
          </p:cNvPr>
          <p:cNvGrpSpPr/>
          <p:nvPr userDrawn="1"/>
        </p:nvGrpSpPr>
        <p:grpSpPr bwMode="blackWhite">
          <a:xfrm>
            <a:off x="5714082" y="533991"/>
            <a:ext cx="763836" cy="763836"/>
            <a:chOff x="5669280" y="401053"/>
            <a:chExt cx="853440" cy="853440"/>
          </a:xfrm>
        </p:grpSpPr>
        <p:sp>
          <p:nvSpPr>
            <p:cNvPr id="17" name="Oval 16">
              <a:extLst>
                <a:ext uri="{FF2B5EF4-FFF2-40B4-BE49-F238E27FC236}">
                  <a16:creationId xmlns:a16="http://schemas.microsoft.com/office/drawing/2014/main" id="{A472F2BC-A405-473F-ABCE-E6E9AD1E73B2}"/>
                </a:ext>
              </a:extLst>
            </p:cNvPr>
            <p:cNvSpPr/>
            <p:nvPr/>
          </p:nvSpPr>
          <p:spPr bwMode="blackWhite">
            <a:xfrm>
              <a:off x="5669280" y="401053"/>
              <a:ext cx="853440" cy="85344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600" b="0" i="0" u="none" strike="noStrike" kern="0" cap="none" spc="0" normalizeH="0" baseline="0" noProof="0" dirty="0">
                <a:ln>
                  <a:noFill/>
                </a:ln>
                <a:solidFill>
                  <a:srgbClr val="FC661E"/>
                </a:solidFill>
                <a:effectLst/>
                <a:uLnTx/>
                <a:uFillTx/>
                <a:latin typeface="Corbel" panose="020B0503020204020204"/>
                <a:ea typeface="+mn-ea"/>
                <a:cs typeface="+mn-cs"/>
              </a:endParaRPr>
            </a:p>
          </p:txBody>
        </p:sp>
        <p:grpSp>
          <p:nvGrpSpPr>
            <p:cNvPr id="18" name="Group 17">
              <a:extLst>
                <a:ext uri="{FF2B5EF4-FFF2-40B4-BE49-F238E27FC236}">
                  <a16:creationId xmlns:a16="http://schemas.microsoft.com/office/drawing/2014/main" id="{7E84322A-C11A-4FE9-B345-C2A93933A292}"/>
                </a:ext>
              </a:extLst>
            </p:cNvPr>
            <p:cNvGrpSpPr>
              <a:grpSpLocks noChangeAspect="1"/>
            </p:cNvGrpSpPr>
            <p:nvPr/>
          </p:nvGrpSpPr>
          <p:grpSpPr bwMode="blackWhite">
            <a:xfrm>
              <a:off x="5862020" y="653991"/>
              <a:ext cx="445500" cy="327825"/>
              <a:chOff x="8452089" y="664544"/>
              <a:chExt cx="652256" cy="479970"/>
            </a:xfrm>
            <a:solidFill>
              <a:srgbClr val="FC661E"/>
            </a:solidFill>
          </p:grpSpPr>
          <p:sp>
            <p:nvSpPr>
              <p:cNvPr id="19" name="Freeform: Shape 18">
                <a:extLst>
                  <a:ext uri="{FF2B5EF4-FFF2-40B4-BE49-F238E27FC236}">
                    <a16:creationId xmlns:a16="http://schemas.microsoft.com/office/drawing/2014/main" id="{94398781-2ECD-4A18-A698-89AE80F35FE5}"/>
                  </a:ext>
                </a:extLst>
              </p:cNvPr>
              <p:cNvSpPr/>
              <p:nvPr/>
            </p:nvSpPr>
            <p:spPr bwMode="blackWhite">
              <a:xfrm>
                <a:off x="8452089" y="664544"/>
                <a:ext cx="282774" cy="479041"/>
              </a:xfrm>
              <a:custGeom>
                <a:avLst/>
                <a:gdLst/>
                <a:ahLst/>
                <a:cxnLst/>
                <a:rect l="l" t="t" r="r" b="b"/>
                <a:pathLst>
                  <a:path w="282774" h="479041">
                    <a:moveTo>
                      <a:pt x="240916" y="0"/>
                    </a:moveTo>
                    <a:lnTo>
                      <a:pt x="240916" y="38137"/>
                    </a:lnTo>
                    <a:cubicBezTo>
                      <a:pt x="186346" y="66663"/>
                      <a:pt x="147278" y="96428"/>
                      <a:pt x="123714" y="127434"/>
                    </a:cubicBezTo>
                    <a:cubicBezTo>
                      <a:pt x="100149" y="158440"/>
                      <a:pt x="88367" y="192237"/>
                      <a:pt x="88367" y="228823"/>
                    </a:cubicBezTo>
                    <a:cubicBezTo>
                      <a:pt x="88367" y="250528"/>
                      <a:pt x="91468" y="265410"/>
                      <a:pt x="97669" y="273472"/>
                    </a:cubicBezTo>
                    <a:cubicBezTo>
                      <a:pt x="103250" y="282154"/>
                      <a:pt x="110071" y="286494"/>
                      <a:pt x="118133" y="286494"/>
                    </a:cubicBezTo>
                    <a:cubicBezTo>
                      <a:pt x="126194" y="286494"/>
                      <a:pt x="137046" y="284169"/>
                      <a:pt x="150689" y="279518"/>
                    </a:cubicBezTo>
                    <a:cubicBezTo>
                      <a:pt x="164331" y="274867"/>
                      <a:pt x="176734" y="272542"/>
                      <a:pt x="187896" y="272542"/>
                    </a:cubicBezTo>
                    <a:cubicBezTo>
                      <a:pt x="213321" y="272542"/>
                      <a:pt x="235490" y="281998"/>
                      <a:pt x="254403" y="300912"/>
                    </a:cubicBezTo>
                    <a:cubicBezTo>
                      <a:pt x="273317" y="319826"/>
                      <a:pt x="282774" y="342925"/>
                      <a:pt x="282774" y="370210"/>
                    </a:cubicBezTo>
                    <a:cubicBezTo>
                      <a:pt x="282774" y="399976"/>
                      <a:pt x="271302" y="425556"/>
                      <a:pt x="248357" y="446950"/>
                    </a:cubicBezTo>
                    <a:cubicBezTo>
                      <a:pt x="225413" y="468344"/>
                      <a:pt x="196887" y="479041"/>
                      <a:pt x="162781" y="479041"/>
                    </a:cubicBezTo>
                    <a:cubicBezTo>
                      <a:pt x="121233" y="479041"/>
                      <a:pt x="83716" y="461057"/>
                      <a:pt x="50230" y="425091"/>
                    </a:cubicBezTo>
                    <a:cubicBezTo>
                      <a:pt x="16743" y="389124"/>
                      <a:pt x="0" y="344785"/>
                      <a:pt x="0" y="292075"/>
                    </a:cubicBezTo>
                    <a:cubicBezTo>
                      <a:pt x="0" y="230064"/>
                      <a:pt x="20619" y="172238"/>
                      <a:pt x="61857" y="118598"/>
                    </a:cubicBezTo>
                    <a:cubicBezTo>
                      <a:pt x="103095" y="64958"/>
                      <a:pt x="162781" y="25425"/>
                      <a:pt x="24091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sp>
            <p:nvSpPr>
              <p:cNvPr id="20" name="Freeform: Shape 19">
                <a:extLst>
                  <a:ext uri="{FF2B5EF4-FFF2-40B4-BE49-F238E27FC236}">
                    <a16:creationId xmlns:a16="http://schemas.microsoft.com/office/drawing/2014/main" id="{9B4E166C-930D-485E-AC32-FA29F5AED701}"/>
                  </a:ext>
                </a:extLst>
              </p:cNvPr>
              <p:cNvSpPr/>
              <p:nvPr/>
            </p:nvSpPr>
            <p:spPr bwMode="blackWhite">
              <a:xfrm>
                <a:off x="8820641" y="667334"/>
                <a:ext cx="283704" cy="477180"/>
              </a:xfrm>
              <a:custGeom>
                <a:avLst/>
                <a:gdLst/>
                <a:ahLst/>
                <a:cxnLst/>
                <a:rect l="l" t="t" r="r" b="b"/>
                <a:pathLst>
                  <a:path w="283704" h="477180">
                    <a:moveTo>
                      <a:pt x="239056" y="0"/>
                    </a:moveTo>
                    <a:lnTo>
                      <a:pt x="239056" y="35346"/>
                    </a:lnTo>
                    <a:cubicBezTo>
                      <a:pt x="176424" y="71313"/>
                      <a:pt x="135186" y="103559"/>
                      <a:pt x="115342" y="132085"/>
                    </a:cubicBezTo>
                    <a:cubicBezTo>
                      <a:pt x="95499" y="160610"/>
                      <a:pt x="85577" y="194096"/>
                      <a:pt x="85577" y="232544"/>
                    </a:cubicBezTo>
                    <a:cubicBezTo>
                      <a:pt x="85577" y="249907"/>
                      <a:pt x="88987" y="262929"/>
                      <a:pt x="95809" y="271611"/>
                    </a:cubicBezTo>
                    <a:cubicBezTo>
                      <a:pt x="102630" y="280293"/>
                      <a:pt x="109761" y="284634"/>
                      <a:pt x="117203" y="284634"/>
                    </a:cubicBezTo>
                    <a:cubicBezTo>
                      <a:pt x="124024" y="284634"/>
                      <a:pt x="134256" y="282153"/>
                      <a:pt x="147898" y="277192"/>
                    </a:cubicBezTo>
                    <a:cubicBezTo>
                      <a:pt x="161541" y="272231"/>
                      <a:pt x="175183" y="269751"/>
                      <a:pt x="188826" y="269751"/>
                    </a:cubicBezTo>
                    <a:cubicBezTo>
                      <a:pt x="214251" y="269751"/>
                      <a:pt x="236420" y="278897"/>
                      <a:pt x="255334" y="297191"/>
                    </a:cubicBezTo>
                    <a:cubicBezTo>
                      <a:pt x="274247" y="315484"/>
                      <a:pt x="283704" y="337964"/>
                      <a:pt x="283704" y="364629"/>
                    </a:cubicBezTo>
                    <a:cubicBezTo>
                      <a:pt x="283704" y="395015"/>
                      <a:pt x="271767" y="421369"/>
                      <a:pt x="247892" y="443694"/>
                    </a:cubicBezTo>
                    <a:cubicBezTo>
                      <a:pt x="224018" y="466018"/>
                      <a:pt x="194717" y="477180"/>
                      <a:pt x="159991" y="477180"/>
                    </a:cubicBezTo>
                    <a:cubicBezTo>
                      <a:pt x="119063" y="477180"/>
                      <a:pt x="82166" y="459507"/>
                      <a:pt x="49300" y="424160"/>
                    </a:cubicBezTo>
                    <a:cubicBezTo>
                      <a:pt x="16434" y="388813"/>
                      <a:pt x="0" y="344785"/>
                      <a:pt x="0" y="292075"/>
                    </a:cubicBezTo>
                    <a:cubicBezTo>
                      <a:pt x="0" y="226963"/>
                      <a:pt x="20774" y="167586"/>
                      <a:pt x="62322" y="113946"/>
                    </a:cubicBezTo>
                    <a:cubicBezTo>
                      <a:pt x="103870" y="60306"/>
                      <a:pt x="162781" y="22324"/>
                      <a:pt x="23905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grpSp>
      </p:grpSp>
    </p:spTree>
    <p:extLst>
      <p:ext uri="{BB962C8B-B14F-4D97-AF65-F5344CB8AC3E}">
        <p14:creationId xmlns:p14="http://schemas.microsoft.com/office/powerpoint/2010/main" val="2802317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A35B05C-9B72-47F8-9E7C-114BBF5D7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a:xfrm>
            <a:off x="1150938" y="1143001"/>
            <a:ext cx="9890125" cy="4572000"/>
          </a:xfrm>
        </p:spPr>
        <p:txBody>
          <a:bodyPr anchor="ctr">
            <a:normAutofit/>
          </a:bodyPr>
          <a:lstStyle>
            <a:lvl1pPr algn="ctr">
              <a:lnSpc>
                <a:spcPct val="100000"/>
              </a:lnSpc>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675467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3454400"/>
            <a:ext cx="3487293" cy="34036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ltGray">
          <a:xfrm>
            <a:off x="0" y="0"/>
            <a:ext cx="3487294" cy="3460496"/>
          </a:xfrm>
          <a:solidFill>
            <a:schemeClr val="bg2"/>
          </a:solidFill>
        </p:spPr>
        <p:txBody>
          <a:bodyPr anchor="ctr"/>
          <a:lstStyle>
            <a:lvl1pPr algn="ctr">
              <a:defRPr/>
            </a:lvl1pPr>
          </a:lstStyle>
          <a:p>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4120997"/>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4538694"/>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5641077"/>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40092070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Circ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0"/>
            <a:ext cx="3487293"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a:xfrm>
            <a:off x="945064" y="971296"/>
            <a:ext cx="1574306" cy="1567690"/>
          </a:xfrm>
          <a:prstGeom prst="ellipse">
            <a:avLst/>
          </a:prstGeom>
          <a:solidFill>
            <a:schemeClr val="bg2"/>
          </a:solidFill>
        </p:spPr>
        <p:txBody>
          <a:bodyPr anchor="ctr"/>
          <a:lstStyle>
            <a:lvl1pPr algn="ctr">
              <a:defRPr/>
            </a:lvl1pPr>
          </a:lstStyle>
          <a:p>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3216634"/>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3634331"/>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4736714"/>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13437631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5" name="Text Placeholder 65">
            <a:extLst>
              <a:ext uri="{FF2B5EF4-FFF2-40B4-BE49-F238E27FC236}">
                <a16:creationId xmlns:a16="http://schemas.microsoft.com/office/drawing/2014/main" id="{C8FFC3B9-058B-45E7-BE7C-C3AD504095BE}"/>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6" name="Text Placeholder 65">
            <a:extLst>
              <a:ext uri="{FF2B5EF4-FFF2-40B4-BE49-F238E27FC236}">
                <a16:creationId xmlns:a16="http://schemas.microsoft.com/office/drawing/2014/main" id="{847E1047-9010-4A85-8482-AEBE01A64011}"/>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
        <p:nvSpPr>
          <p:cNvPr id="19" name="Text Placeholder 4">
            <a:extLst>
              <a:ext uri="{FF2B5EF4-FFF2-40B4-BE49-F238E27FC236}">
                <a16:creationId xmlns:a16="http://schemas.microsoft.com/office/drawing/2014/main" id="{AC988A1F-F73C-41E8-90B0-580A175CAB52}"/>
              </a:ext>
            </a:extLst>
          </p:cNvPr>
          <p:cNvSpPr>
            <a:spLocks noGrp="1"/>
          </p:cNvSpPr>
          <p:nvPr>
            <p:ph type="body" sz="quarter" idx="20"/>
          </p:nvPr>
        </p:nvSpPr>
        <p:spPr>
          <a:xfrm>
            <a:off x="3746500"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20" name="Text Placeholder 4">
            <a:extLst>
              <a:ext uri="{FF2B5EF4-FFF2-40B4-BE49-F238E27FC236}">
                <a16:creationId xmlns:a16="http://schemas.microsoft.com/office/drawing/2014/main" id="{9557BF5B-95AF-4DE1-98A0-29366192625F}"/>
              </a:ext>
            </a:extLst>
          </p:cNvPr>
          <p:cNvSpPr>
            <a:spLocks noGrp="1"/>
          </p:cNvSpPr>
          <p:nvPr>
            <p:ph type="body" sz="quarter" idx="21"/>
          </p:nvPr>
        </p:nvSpPr>
        <p:spPr>
          <a:xfrm>
            <a:off x="6545692"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21" name="Text Placeholder 4">
            <a:extLst>
              <a:ext uri="{FF2B5EF4-FFF2-40B4-BE49-F238E27FC236}">
                <a16:creationId xmlns:a16="http://schemas.microsoft.com/office/drawing/2014/main" id="{06322C9A-F998-4EF5-BCF9-357E795C005B}"/>
              </a:ext>
            </a:extLst>
          </p:cNvPr>
          <p:cNvSpPr>
            <a:spLocks noGrp="1"/>
          </p:cNvSpPr>
          <p:nvPr>
            <p:ph type="body" sz="quarter" idx="22"/>
          </p:nvPr>
        </p:nvSpPr>
        <p:spPr>
          <a:xfrm>
            <a:off x="9344884"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23" name="Text Placeholder 7">
            <a:extLst>
              <a:ext uri="{FF2B5EF4-FFF2-40B4-BE49-F238E27FC236}">
                <a16:creationId xmlns:a16="http://schemas.microsoft.com/office/drawing/2014/main" id="{E388B79A-34B1-49CE-A299-96DF81853027}"/>
              </a:ext>
            </a:extLst>
          </p:cNvPr>
          <p:cNvSpPr>
            <a:spLocks noGrp="1"/>
          </p:cNvSpPr>
          <p:nvPr>
            <p:ph type="body" sz="quarter" idx="23" hasCustomPrompt="1"/>
          </p:nvPr>
        </p:nvSpPr>
        <p:spPr>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Tree>
    <p:extLst>
      <p:ext uri="{BB962C8B-B14F-4D97-AF65-F5344CB8AC3E}">
        <p14:creationId xmlns:p14="http://schemas.microsoft.com/office/powerpoint/2010/main" val="17515686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71221-98FF-4E04-85C5-E6292023901C}"/>
              </a:ext>
            </a:extLst>
          </p:cNvPr>
          <p:cNvSpPr>
            <a:spLocks noGrp="1"/>
          </p:cNvSpPr>
          <p:nvPr>
            <p:ph type="dt" sz="half" idx="10"/>
          </p:nvPr>
        </p:nvSpPr>
        <p:spPr/>
        <p:txBody>
          <a:bodyPr/>
          <a:lstStyle/>
          <a:p>
            <a:fld id="{F924377E-CCCA-4059-83B9-8B91FBC2851B}" type="datetime1">
              <a:rPr lang="en-US" smtClean="0"/>
              <a:t>7/16/2019</a:t>
            </a:fld>
            <a:endParaRPr lang="en-US" dirty="0"/>
          </a:p>
        </p:txBody>
      </p:sp>
      <p:sp>
        <p:nvSpPr>
          <p:cNvPr id="3" name="Footer Placeholder 2">
            <a:extLst>
              <a:ext uri="{FF2B5EF4-FFF2-40B4-BE49-F238E27FC236}">
                <a16:creationId xmlns:a16="http://schemas.microsoft.com/office/drawing/2014/main" id="{850B83E4-753A-4414-8F0F-22FD42B35575}"/>
              </a:ext>
            </a:extLst>
          </p:cNvPr>
          <p:cNvSpPr>
            <a:spLocks noGrp="1"/>
          </p:cNvSpPr>
          <p:nvPr>
            <p:ph type="ftr" sz="quarter" idx="11"/>
          </p:nvPr>
        </p:nvSpPr>
        <p:spPr/>
        <p:txBody>
          <a:bodyPr/>
          <a:lstStyle/>
          <a:p>
            <a:r>
              <a:rPr lang="en-US" dirty="0"/>
              <a:t>©Avalara. Confidential and proprietary.</a:t>
            </a:r>
          </a:p>
        </p:txBody>
      </p:sp>
      <p:sp>
        <p:nvSpPr>
          <p:cNvPr id="4" name="Slide Number Placeholder 3">
            <a:extLst>
              <a:ext uri="{FF2B5EF4-FFF2-40B4-BE49-F238E27FC236}">
                <a16:creationId xmlns:a16="http://schemas.microsoft.com/office/drawing/2014/main" id="{C0D406A9-45D4-45F3-825A-508C0FA5FBCA}"/>
              </a:ext>
            </a:extLst>
          </p:cNvPr>
          <p:cNvSpPr>
            <a:spLocks noGrp="1"/>
          </p:cNvSpPr>
          <p:nvPr>
            <p:ph type="sldNum" sz="quarter" idx="12"/>
          </p:nvPr>
        </p:nvSpPr>
        <p:spPr/>
        <p:txBody>
          <a:bodyPr/>
          <a:lstStyle/>
          <a:p>
            <a:fld id="{C7927A04-FFAB-4E77-8A60-75CB67674673}" type="slidenum">
              <a:rPr lang="en-US" smtClean="0"/>
              <a:t>‹#›</a:t>
            </a:fld>
            <a:endParaRPr lang="en-US" dirty="0"/>
          </a:p>
        </p:txBody>
      </p:sp>
      <p:sp>
        <p:nvSpPr>
          <p:cNvPr id="5" name="Rectangle 4">
            <a:extLst>
              <a:ext uri="{FF2B5EF4-FFF2-40B4-BE49-F238E27FC236}">
                <a16:creationId xmlns:a16="http://schemas.microsoft.com/office/drawing/2014/main" id="{7D38569D-D265-4B7A-BE01-6075C2277C2C}"/>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95152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OC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lvl1pPr>
              <a:lnSpc>
                <a:spcPct val="100000"/>
              </a:lnSpc>
              <a:spcBef>
                <a:spcPts val="900"/>
              </a:spcBef>
              <a:defRPr sz="1200"/>
            </a:lvl1pPr>
            <a:lvl2pPr marL="169863" indent="-112713">
              <a:lnSpc>
                <a:spcPct val="100000"/>
              </a:lnSpc>
              <a:defRPr sz="1200"/>
            </a:lvl2pPr>
            <a:lvl3pPr marL="401638" indent="-117475">
              <a:lnSpc>
                <a:spcPct val="100000"/>
              </a:lnSpc>
              <a:defRPr sz="1200"/>
            </a:lvl3pPr>
            <a:lvl4pPr marL="628650" indent="-115888">
              <a:lnSpc>
                <a:spcPct val="100000"/>
              </a:lnSpc>
              <a:defRPr sz="1200"/>
            </a:lvl4pPr>
            <a:lvl5pPr>
              <a:defRPr sz="1800"/>
            </a:lvl5pPr>
            <a:lvl6pPr marL="744538" indent="-228600">
              <a:defRPr sz="1000"/>
            </a:lvl6pPr>
            <a:lvl7pPr marL="744538" indent="-228600">
              <a:defRPr sz="1000"/>
            </a:lvl7pPr>
            <a:lvl8pPr marL="744538" indent="-228600">
              <a:defRPr sz="1000"/>
            </a:lvl8pPr>
            <a:lvl9pPr marL="744538" indent="-228600">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8AB7C9E6-CBB1-4515-AD01-9E0F7C74C099}"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C741D6B1-B642-4DF8-8EF6-8EB1A1EAC2C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4800797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0DF80-44B3-4921-8FBB-912B9E6DBB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BE1025-BE50-443A-8613-F453ADBE328D}"/>
              </a:ext>
            </a:extLst>
          </p:cNvPr>
          <p:cNvSpPr>
            <a:spLocks noGrp="1"/>
          </p:cNvSpPr>
          <p:nvPr>
            <p:ph type="dt" sz="half" idx="10"/>
          </p:nvPr>
        </p:nvSpPr>
        <p:spPr/>
        <p:txBody>
          <a:bodyPr/>
          <a:lstStyle/>
          <a:p>
            <a:fld id="{E05516E3-12BC-4833-82B3-26355833E08F}" type="datetime1">
              <a:rPr lang="en-US" smtClean="0"/>
              <a:t>7/16/2019</a:t>
            </a:fld>
            <a:endParaRPr lang="en-US" dirty="0"/>
          </a:p>
        </p:txBody>
      </p:sp>
      <p:sp>
        <p:nvSpPr>
          <p:cNvPr id="4" name="Footer Placeholder 3">
            <a:extLst>
              <a:ext uri="{FF2B5EF4-FFF2-40B4-BE49-F238E27FC236}">
                <a16:creationId xmlns:a16="http://schemas.microsoft.com/office/drawing/2014/main" id="{EADE033A-1501-4735-95C7-6B7AFF2983F7}"/>
              </a:ext>
            </a:extLst>
          </p:cNvPr>
          <p:cNvSpPr>
            <a:spLocks noGrp="1"/>
          </p:cNvSpPr>
          <p:nvPr>
            <p:ph type="ftr" sz="quarter" idx="11"/>
          </p:nvPr>
        </p:nvSpPr>
        <p:spPr/>
        <p:txBody>
          <a:bodyPr/>
          <a:lstStyle/>
          <a:p>
            <a:r>
              <a:rPr lang="en-US" dirty="0"/>
              <a:t>©Avalara. Confidential and proprietary.</a:t>
            </a:r>
          </a:p>
        </p:txBody>
      </p:sp>
      <p:sp>
        <p:nvSpPr>
          <p:cNvPr id="5" name="Slide Number Placeholder 4">
            <a:extLst>
              <a:ext uri="{FF2B5EF4-FFF2-40B4-BE49-F238E27FC236}">
                <a16:creationId xmlns:a16="http://schemas.microsoft.com/office/drawing/2014/main" id="{E1AA55AC-85D3-489E-B7FA-BBD0A1748930}"/>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7" name="Rectangle 6">
            <a:extLst>
              <a:ext uri="{FF2B5EF4-FFF2-40B4-BE49-F238E27FC236}">
                <a16:creationId xmlns:a16="http://schemas.microsoft.com/office/drawing/2014/main" id="{54C338C2-2AE8-4C49-8B01-4578D6B83F14}"/>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ubtitle 2">
            <a:extLst>
              <a:ext uri="{FF2B5EF4-FFF2-40B4-BE49-F238E27FC236}">
                <a16:creationId xmlns:a16="http://schemas.microsoft.com/office/drawing/2014/main" id="{24F8D4C3-881C-4581-8515-75A20DA1631D}"/>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518730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OC 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50"/>
            </a:lvl6pPr>
            <a:lvl7pPr marL="740664">
              <a:defRPr sz="1050"/>
            </a:lvl7pPr>
            <a:lvl8pPr marL="740664">
              <a:defRPr sz="1050"/>
            </a:lvl8pPr>
            <a:lvl9pPr marL="740664">
              <a:defRPr sz="10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45DCD0F-4D72-469D-8288-58F4117C5E19}"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86D65842-799A-483D-B43F-A64CC88F586D}"/>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1174882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OC Content 2/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00"/>
            </a:lvl6pPr>
            <a:lvl7pPr marL="740664">
              <a:defRPr sz="1000"/>
            </a:lvl7pPr>
            <a:lvl8pPr marL="740664">
              <a:defRPr sz="1000"/>
            </a:lvl8pPr>
            <a:lvl9pPr marL="740664">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8D592D4-0A42-45CE-BF61-E97C6CB3B93D}"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EF1881A6-6DE4-4A65-9146-A5174949A76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34914180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OC 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57C59ED2-C88C-4B00-BAF7-C024E330DF52}" type="datetime1">
              <a:rPr lang="en-US" smtClean="0"/>
              <a:t>7/16/2019</a:t>
            </a:fld>
            <a:endParaRPr lang="en-US" dirty="0"/>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dirty="0"/>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
        <p:nvSpPr>
          <p:cNvPr id="11" name="Subtitle 2">
            <a:extLst>
              <a:ext uri="{FF2B5EF4-FFF2-40B4-BE49-F238E27FC236}">
                <a16:creationId xmlns:a16="http://schemas.microsoft.com/office/drawing/2014/main" id="{92E39C4B-E599-424E-80D0-8236137D3186}"/>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962323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OC 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39" name="Text Placeholder 4">
            <a:extLst>
              <a:ext uri="{FF2B5EF4-FFF2-40B4-BE49-F238E27FC236}">
                <a16:creationId xmlns:a16="http://schemas.microsoft.com/office/drawing/2014/main" id="{59722449-62B0-49C2-875F-6E8B5B0F9679}"/>
              </a:ext>
            </a:extLst>
          </p:cNvPr>
          <p:cNvSpPr>
            <a:spLocks noGrp="1"/>
          </p:cNvSpPr>
          <p:nvPr>
            <p:ph type="body" sz="quarter" idx="22"/>
          </p:nvPr>
        </p:nvSpPr>
        <p:spPr>
          <a:xfrm>
            <a:off x="9344884"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36" name="Text Placeholder 65">
            <a:extLst>
              <a:ext uri="{FF2B5EF4-FFF2-40B4-BE49-F238E27FC236}">
                <a16:creationId xmlns:a16="http://schemas.microsoft.com/office/drawing/2014/main" id="{35824EF6-E85C-453C-B482-A5D5822BB654}"/>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3" name="Text Placeholder 7">
            <a:extLst>
              <a:ext uri="{FF2B5EF4-FFF2-40B4-BE49-F238E27FC236}">
                <a16:creationId xmlns:a16="http://schemas.microsoft.com/office/drawing/2014/main" id="{94CA8CAC-3F9C-4B12-922A-62D7FBFCF25C}"/>
              </a:ext>
            </a:extLst>
          </p:cNvPr>
          <p:cNvSpPr>
            <a:spLocks noGrp="1"/>
          </p:cNvSpPr>
          <p:nvPr>
            <p:ph type="body" sz="quarter" idx="23" hasCustomPrompt="1"/>
          </p:nvPr>
        </p:nvSpPr>
        <p:spPr bwMode="black">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
        <p:nvSpPr>
          <p:cNvPr id="38" name="Text Placeholder 4">
            <a:extLst>
              <a:ext uri="{FF2B5EF4-FFF2-40B4-BE49-F238E27FC236}">
                <a16:creationId xmlns:a16="http://schemas.microsoft.com/office/drawing/2014/main" id="{8152CB08-DFE3-442B-A826-67E405FB600D}"/>
              </a:ext>
            </a:extLst>
          </p:cNvPr>
          <p:cNvSpPr>
            <a:spLocks noGrp="1"/>
          </p:cNvSpPr>
          <p:nvPr>
            <p:ph type="body" sz="quarter" idx="21"/>
          </p:nvPr>
        </p:nvSpPr>
        <p:spPr>
          <a:xfrm>
            <a:off x="6545692"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35" name="Text Placeholder 65">
            <a:extLst>
              <a:ext uri="{FF2B5EF4-FFF2-40B4-BE49-F238E27FC236}">
                <a16:creationId xmlns:a16="http://schemas.microsoft.com/office/drawing/2014/main" id="{4AC7E153-3012-4DFF-9C05-19F5002C9603}"/>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7" name="Text Placeholder 4">
            <a:extLst>
              <a:ext uri="{FF2B5EF4-FFF2-40B4-BE49-F238E27FC236}">
                <a16:creationId xmlns:a16="http://schemas.microsoft.com/office/drawing/2014/main" id="{DAA1D7E6-05F8-4A10-84DD-84DA1723AF6E}"/>
              </a:ext>
            </a:extLst>
          </p:cNvPr>
          <p:cNvSpPr>
            <a:spLocks noGrp="1"/>
          </p:cNvSpPr>
          <p:nvPr>
            <p:ph type="body" sz="quarter" idx="20"/>
          </p:nvPr>
        </p:nvSpPr>
        <p:spPr>
          <a:xfrm>
            <a:off x="3746500"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dirty="0"/>
              <a:t>Edit Master text styles</a:t>
            </a:r>
          </a:p>
          <a:p>
            <a:pPr lvl="1"/>
            <a:r>
              <a:rPr lang="en-US" dirty="0"/>
              <a:t>Second level</a:t>
            </a:r>
          </a:p>
          <a:p>
            <a:pPr lvl="2"/>
            <a:r>
              <a:rPr lang="en-US" dirty="0"/>
              <a:t>Third level</a:t>
            </a:r>
          </a:p>
          <a:p>
            <a:pPr lvl="3"/>
            <a:endParaRPr lang="en-US" dirty="0"/>
          </a:p>
        </p:txBody>
      </p:sp>
      <p:sp>
        <p:nvSpPr>
          <p:cNvPr id="34" name="Text Placeholder 65">
            <a:extLst>
              <a:ext uri="{FF2B5EF4-FFF2-40B4-BE49-F238E27FC236}">
                <a16:creationId xmlns:a16="http://schemas.microsoft.com/office/drawing/2014/main" id="{F7747783-8923-4C49-A4D1-7E61CD0545C6}"/>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bwMode="black">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bwMode="black">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bwMode="black">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Tree>
    <p:extLst>
      <p:ext uri="{BB962C8B-B14F-4D97-AF65-F5344CB8AC3E}">
        <p14:creationId xmlns:p14="http://schemas.microsoft.com/office/powerpoint/2010/main" val="8755916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grpSp>
        <p:nvGrpSpPr>
          <p:cNvPr id="3" name="Group 4">
            <a:extLst>
              <a:ext uri="{FF2B5EF4-FFF2-40B4-BE49-F238E27FC236}">
                <a16:creationId xmlns:a16="http://schemas.microsoft.com/office/drawing/2014/main" id="{7300BD1B-C689-4F13-BF9A-B6B9B3DE6069}"/>
              </a:ext>
            </a:extLst>
          </p:cNvPr>
          <p:cNvGrpSpPr>
            <a:grpSpLocks noChangeAspect="1"/>
          </p:cNvGrpSpPr>
          <p:nvPr userDrawn="1"/>
        </p:nvGrpSpPr>
        <p:grpSpPr bwMode="black">
          <a:xfrm>
            <a:off x="3912396" y="2875980"/>
            <a:ext cx="4347956" cy="1567709"/>
            <a:chOff x="2524" y="1686"/>
            <a:chExt cx="2632" cy="949"/>
          </a:xfrm>
          <a:solidFill>
            <a:srgbClr val="FFFFFF"/>
          </a:solidFill>
        </p:grpSpPr>
        <p:sp>
          <p:nvSpPr>
            <p:cNvPr id="7" name="Freeform 5">
              <a:extLst>
                <a:ext uri="{FF2B5EF4-FFF2-40B4-BE49-F238E27FC236}">
                  <a16:creationId xmlns:a16="http://schemas.microsoft.com/office/drawing/2014/main" id="{C49AEAF5-D0D4-47B8-B8C4-1B420A659EC6}"/>
                </a:ext>
              </a:extLst>
            </p:cNvPr>
            <p:cNvSpPr>
              <a:spLocks/>
            </p:cNvSpPr>
            <p:nvPr userDrawn="1"/>
          </p:nvSpPr>
          <p:spPr bwMode="black">
            <a:xfrm>
              <a:off x="2724" y="1932"/>
              <a:ext cx="267" cy="300"/>
            </a:xfrm>
            <a:custGeom>
              <a:avLst/>
              <a:gdLst>
                <a:gd name="T0" fmla="*/ 57 w 227"/>
                <a:gd name="T1" fmla="*/ 157 h 254"/>
                <a:gd name="T2" fmla="*/ 20 w 227"/>
                <a:gd name="T3" fmla="*/ 113 h 254"/>
                <a:gd name="T4" fmla="*/ 0 w 227"/>
                <a:gd name="T5" fmla="*/ 159 h 254"/>
                <a:gd name="T6" fmla="*/ 57 w 227"/>
                <a:gd name="T7" fmla="*/ 254 h 254"/>
                <a:gd name="T8" fmla="*/ 227 w 227"/>
                <a:gd name="T9" fmla="*/ 26 h 254"/>
                <a:gd name="T10" fmla="*/ 216 w 227"/>
                <a:gd name="T11" fmla="*/ 0 h 254"/>
                <a:gd name="T12" fmla="*/ 57 w 227"/>
                <a:gd name="T13" fmla="*/ 157 h 254"/>
              </a:gdLst>
              <a:ahLst/>
              <a:cxnLst>
                <a:cxn ang="0">
                  <a:pos x="T0" y="T1"/>
                </a:cxn>
                <a:cxn ang="0">
                  <a:pos x="T2" y="T3"/>
                </a:cxn>
                <a:cxn ang="0">
                  <a:pos x="T4" y="T5"/>
                </a:cxn>
                <a:cxn ang="0">
                  <a:pos x="T6" y="T7"/>
                </a:cxn>
                <a:cxn ang="0">
                  <a:pos x="T8" y="T9"/>
                </a:cxn>
                <a:cxn ang="0">
                  <a:pos x="T10" y="T11"/>
                </a:cxn>
                <a:cxn ang="0">
                  <a:pos x="T12" y="T13"/>
                </a:cxn>
              </a:cxnLst>
              <a:rect l="0" t="0" r="r" b="b"/>
              <a:pathLst>
                <a:path w="227" h="254">
                  <a:moveTo>
                    <a:pt x="57" y="157"/>
                  </a:moveTo>
                  <a:cubicBezTo>
                    <a:pt x="57" y="157"/>
                    <a:pt x="33" y="128"/>
                    <a:pt x="20" y="113"/>
                  </a:cubicBezTo>
                  <a:cubicBezTo>
                    <a:pt x="0" y="159"/>
                    <a:pt x="0" y="159"/>
                    <a:pt x="0" y="159"/>
                  </a:cubicBezTo>
                  <a:cubicBezTo>
                    <a:pt x="28" y="201"/>
                    <a:pt x="47" y="237"/>
                    <a:pt x="57" y="254"/>
                  </a:cubicBezTo>
                  <a:cubicBezTo>
                    <a:pt x="77" y="220"/>
                    <a:pt x="126" y="120"/>
                    <a:pt x="227" y="26"/>
                  </a:cubicBezTo>
                  <a:cubicBezTo>
                    <a:pt x="216" y="0"/>
                    <a:pt x="216" y="0"/>
                    <a:pt x="216" y="0"/>
                  </a:cubicBezTo>
                  <a:cubicBezTo>
                    <a:pt x="150" y="48"/>
                    <a:pt x="94" y="110"/>
                    <a:pt x="57" y="1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a:extLst>
                <a:ext uri="{FF2B5EF4-FFF2-40B4-BE49-F238E27FC236}">
                  <a16:creationId xmlns:a16="http://schemas.microsoft.com/office/drawing/2014/main" id="{213A2FE5-C9F2-41BF-8147-CF9C1161AD1A}"/>
                </a:ext>
              </a:extLst>
            </p:cNvPr>
            <p:cNvSpPr>
              <a:spLocks/>
            </p:cNvSpPr>
            <p:nvPr userDrawn="1"/>
          </p:nvSpPr>
          <p:spPr bwMode="black">
            <a:xfrm>
              <a:off x="3892" y="1686"/>
              <a:ext cx="135" cy="573"/>
            </a:xfrm>
            <a:custGeom>
              <a:avLst/>
              <a:gdLst>
                <a:gd name="T0" fmla="*/ 74 w 114"/>
                <a:gd name="T1" fmla="*/ 376 h 486"/>
                <a:gd name="T2" fmla="*/ 114 w 114"/>
                <a:gd name="T3" fmla="*/ 421 h 486"/>
                <a:gd name="T4" fmla="*/ 114 w 114"/>
                <a:gd name="T5" fmla="*/ 486 h 486"/>
                <a:gd name="T6" fmla="*/ 0 w 114"/>
                <a:gd name="T7" fmla="*/ 381 h 486"/>
                <a:gd name="T8" fmla="*/ 0 w 114"/>
                <a:gd name="T9" fmla="*/ 0 h 486"/>
                <a:gd name="T10" fmla="*/ 74 w 114"/>
                <a:gd name="T11" fmla="*/ 0 h 486"/>
                <a:gd name="T12" fmla="*/ 74 w 114"/>
                <a:gd name="T13" fmla="*/ 376 h 486"/>
              </a:gdLst>
              <a:ahLst/>
              <a:cxnLst>
                <a:cxn ang="0">
                  <a:pos x="T0" y="T1"/>
                </a:cxn>
                <a:cxn ang="0">
                  <a:pos x="T2" y="T3"/>
                </a:cxn>
                <a:cxn ang="0">
                  <a:pos x="T4" y="T5"/>
                </a:cxn>
                <a:cxn ang="0">
                  <a:pos x="T6" y="T7"/>
                </a:cxn>
                <a:cxn ang="0">
                  <a:pos x="T8" y="T9"/>
                </a:cxn>
                <a:cxn ang="0">
                  <a:pos x="T10" y="T11"/>
                </a:cxn>
                <a:cxn ang="0">
                  <a:pos x="T12" y="T13"/>
                </a:cxn>
              </a:cxnLst>
              <a:rect l="0" t="0" r="r" b="b"/>
              <a:pathLst>
                <a:path w="114" h="486">
                  <a:moveTo>
                    <a:pt x="74" y="376"/>
                  </a:moveTo>
                  <a:cubicBezTo>
                    <a:pt x="74" y="403"/>
                    <a:pt x="90" y="417"/>
                    <a:pt x="114" y="421"/>
                  </a:cubicBezTo>
                  <a:cubicBezTo>
                    <a:pt x="114" y="486"/>
                    <a:pt x="114" y="486"/>
                    <a:pt x="114" y="486"/>
                  </a:cubicBezTo>
                  <a:cubicBezTo>
                    <a:pt x="40" y="485"/>
                    <a:pt x="0" y="449"/>
                    <a:pt x="0" y="381"/>
                  </a:cubicBezTo>
                  <a:cubicBezTo>
                    <a:pt x="0" y="0"/>
                    <a:pt x="0" y="0"/>
                    <a:pt x="0" y="0"/>
                  </a:cubicBezTo>
                  <a:cubicBezTo>
                    <a:pt x="74" y="0"/>
                    <a:pt x="74" y="0"/>
                    <a:pt x="74" y="0"/>
                  </a:cubicBezTo>
                  <a:lnTo>
                    <a:pt x="74"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
              <a:extLst>
                <a:ext uri="{FF2B5EF4-FFF2-40B4-BE49-F238E27FC236}">
                  <a16:creationId xmlns:a16="http://schemas.microsoft.com/office/drawing/2014/main" id="{AEE27C07-9D5B-4C61-B422-58B79990DA00}"/>
                </a:ext>
              </a:extLst>
            </p:cNvPr>
            <p:cNvSpPr>
              <a:spLocks noEditPoints="1"/>
            </p:cNvSpPr>
            <p:nvPr userDrawn="1"/>
          </p:nvSpPr>
          <p:spPr bwMode="black">
            <a:xfrm>
              <a:off x="4057"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a:extLst>
                <a:ext uri="{FF2B5EF4-FFF2-40B4-BE49-F238E27FC236}">
                  <a16:creationId xmlns:a16="http://schemas.microsoft.com/office/drawing/2014/main" id="{7FED01C0-EDE5-4752-A76A-C7C20F08824C}"/>
                </a:ext>
              </a:extLst>
            </p:cNvPr>
            <p:cNvSpPr>
              <a:spLocks/>
            </p:cNvSpPr>
            <p:nvPr userDrawn="1"/>
          </p:nvSpPr>
          <p:spPr bwMode="black">
            <a:xfrm>
              <a:off x="4527" y="1853"/>
              <a:ext cx="215" cy="397"/>
            </a:xfrm>
            <a:custGeom>
              <a:avLst/>
              <a:gdLst>
                <a:gd name="T0" fmla="*/ 0 w 183"/>
                <a:gd name="T1" fmla="*/ 336 h 336"/>
                <a:gd name="T2" fmla="*/ 74 w 183"/>
                <a:gd name="T3" fmla="*/ 336 h 336"/>
                <a:gd name="T4" fmla="*/ 74 w 183"/>
                <a:gd name="T5" fmla="*/ 106 h 336"/>
                <a:gd name="T6" fmla="*/ 167 w 183"/>
                <a:gd name="T7" fmla="*/ 67 h 336"/>
                <a:gd name="T8" fmla="*/ 183 w 183"/>
                <a:gd name="T9" fmla="*/ 67 h 336"/>
                <a:gd name="T10" fmla="*/ 183 w 183"/>
                <a:gd name="T11" fmla="*/ 0 h 336"/>
                <a:gd name="T12" fmla="*/ 173 w 183"/>
                <a:gd name="T13" fmla="*/ 0 h 336"/>
                <a:gd name="T14" fmla="*/ 78 w 183"/>
                <a:gd name="T15" fmla="*/ 45 h 336"/>
                <a:gd name="T16" fmla="*/ 74 w 183"/>
                <a:gd name="T17" fmla="*/ 44 h 336"/>
                <a:gd name="T18" fmla="*/ 74 w 183"/>
                <a:gd name="T19" fmla="*/ 7 h 336"/>
                <a:gd name="T20" fmla="*/ 0 w 183"/>
                <a:gd name="T21" fmla="*/ 7 h 336"/>
                <a:gd name="T22" fmla="*/ 0 w 183"/>
                <a:gd name="T2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336">
                  <a:moveTo>
                    <a:pt x="0" y="336"/>
                  </a:moveTo>
                  <a:cubicBezTo>
                    <a:pt x="74" y="336"/>
                    <a:pt x="74" y="336"/>
                    <a:pt x="74" y="336"/>
                  </a:cubicBezTo>
                  <a:cubicBezTo>
                    <a:pt x="74" y="106"/>
                    <a:pt x="74" y="106"/>
                    <a:pt x="74" y="106"/>
                  </a:cubicBezTo>
                  <a:cubicBezTo>
                    <a:pt x="97" y="82"/>
                    <a:pt x="129" y="67"/>
                    <a:pt x="167" y="67"/>
                  </a:cubicBezTo>
                  <a:cubicBezTo>
                    <a:pt x="183" y="67"/>
                    <a:pt x="183" y="67"/>
                    <a:pt x="183" y="67"/>
                  </a:cubicBezTo>
                  <a:cubicBezTo>
                    <a:pt x="183" y="0"/>
                    <a:pt x="183" y="0"/>
                    <a:pt x="183" y="0"/>
                  </a:cubicBezTo>
                  <a:cubicBezTo>
                    <a:pt x="173" y="0"/>
                    <a:pt x="173" y="0"/>
                    <a:pt x="173" y="0"/>
                  </a:cubicBezTo>
                  <a:cubicBezTo>
                    <a:pt x="133" y="0"/>
                    <a:pt x="100" y="19"/>
                    <a:pt x="78" y="45"/>
                  </a:cubicBezTo>
                  <a:cubicBezTo>
                    <a:pt x="74" y="44"/>
                    <a:pt x="74" y="44"/>
                    <a:pt x="74" y="44"/>
                  </a:cubicBezTo>
                  <a:cubicBezTo>
                    <a:pt x="74" y="7"/>
                    <a:pt x="74" y="7"/>
                    <a:pt x="74" y="7"/>
                  </a:cubicBezTo>
                  <a:cubicBezTo>
                    <a:pt x="0" y="7"/>
                    <a:pt x="0" y="7"/>
                    <a:pt x="0" y="7"/>
                  </a:cubicBezTo>
                  <a:lnTo>
                    <a:pt x="0"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a:extLst>
                <a:ext uri="{FF2B5EF4-FFF2-40B4-BE49-F238E27FC236}">
                  <a16:creationId xmlns:a16="http://schemas.microsoft.com/office/drawing/2014/main" id="{2DB39615-77F3-4B9A-A282-656F31810CD8}"/>
                </a:ext>
              </a:extLst>
            </p:cNvPr>
            <p:cNvSpPr>
              <a:spLocks noEditPoints="1"/>
            </p:cNvSpPr>
            <p:nvPr userDrawn="1"/>
          </p:nvSpPr>
          <p:spPr bwMode="black">
            <a:xfrm>
              <a:off x="3424"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a:extLst>
                <a:ext uri="{FF2B5EF4-FFF2-40B4-BE49-F238E27FC236}">
                  <a16:creationId xmlns:a16="http://schemas.microsoft.com/office/drawing/2014/main" id="{51DC7E59-CB7F-41A3-B06E-9AF8DD9EE21B}"/>
                </a:ext>
              </a:extLst>
            </p:cNvPr>
            <p:cNvSpPr>
              <a:spLocks noEditPoints="1"/>
            </p:cNvSpPr>
            <p:nvPr userDrawn="1"/>
          </p:nvSpPr>
          <p:spPr bwMode="black">
            <a:xfrm>
              <a:off x="4757" y="1853"/>
              <a:ext cx="399" cy="404"/>
            </a:xfrm>
            <a:custGeom>
              <a:avLst/>
              <a:gdLst>
                <a:gd name="T0" fmla="*/ 166 w 339"/>
                <a:gd name="T1" fmla="*/ 0 h 342"/>
                <a:gd name="T2" fmla="*/ 0 w 339"/>
                <a:gd name="T3" fmla="*/ 171 h 342"/>
                <a:gd name="T4" fmla="*/ 159 w 339"/>
                <a:gd name="T5" fmla="*/ 342 h 342"/>
                <a:gd name="T6" fmla="*/ 261 w 339"/>
                <a:gd name="T7" fmla="*/ 301 h 342"/>
                <a:gd name="T8" fmla="*/ 265 w 339"/>
                <a:gd name="T9" fmla="*/ 302 h 342"/>
                <a:gd name="T10" fmla="*/ 265 w 339"/>
                <a:gd name="T11" fmla="*/ 335 h 342"/>
                <a:gd name="T12" fmla="*/ 339 w 339"/>
                <a:gd name="T13" fmla="*/ 335 h 342"/>
                <a:gd name="T14" fmla="*/ 339 w 339"/>
                <a:gd name="T15" fmla="*/ 7 h 342"/>
                <a:gd name="T16" fmla="*/ 265 w 339"/>
                <a:gd name="T17" fmla="*/ 7 h 342"/>
                <a:gd name="T18" fmla="*/ 265 w 339"/>
                <a:gd name="T19" fmla="*/ 30 h 342"/>
                <a:gd name="T20" fmla="*/ 262 w 339"/>
                <a:gd name="T21" fmla="*/ 31 h 342"/>
                <a:gd name="T22" fmla="*/ 166 w 339"/>
                <a:gd name="T23" fmla="*/ 0 h 342"/>
                <a:gd name="T24" fmla="*/ 175 w 339"/>
                <a:gd name="T25" fmla="*/ 280 h 342"/>
                <a:gd name="T26" fmla="*/ 74 w 339"/>
                <a:gd name="T27" fmla="*/ 171 h 342"/>
                <a:gd name="T28" fmla="*/ 175 w 339"/>
                <a:gd name="T29" fmla="*/ 62 h 342"/>
                <a:gd name="T30" fmla="*/ 265 w 339"/>
                <a:gd name="T31" fmla="*/ 89 h 342"/>
                <a:gd name="T32" fmla="*/ 265 w 339"/>
                <a:gd name="T33" fmla="*/ 230 h 342"/>
                <a:gd name="T34" fmla="*/ 175 w 339"/>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42">
                  <a:moveTo>
                    <a:pt x="166" y="0"/>
                  </a:moveTo>
                  <a:cubicBezTo>
                    <a:pt x="74" y="0"/>
                    <a:pt x="0" y="76"/>
                    <a:pt x="0" y="171"/>
                  </a:cubicBezTo>
                  <a:cubicBezTo>
                    <a:pt x="0" y="266"/>
                    <a:pt x="71" y="342"/>
                    <a:pt x="159" y="342"/>
                  </a:cubicBezTo>
                  <a:cubicBezTo>
                    <a:pt x="204" y="342"/>
                    <a:pt x="240" y="325"/>
                    <a:pt x="261" y="301"/>
                  </a:cubicBezTo>
                  <a:cubicBezTo>
                    <a:pt x="265" y="302"/>
                    <a:pt x="265" y="302"/>
                    <a:pt x="265" y="302"/>
                  </a:cubicBezTo>
                  <a:cubicBezTo>
                    <a:pt x="265" y="335"/>
                    <a:pt x="265" y="335"/>
                    <a:pt x="265" y="335"/>
                  </a:cubicBezTo>
                  <a:cubicBezTo>
                    <a:pt x="339" y="335"/>
                    <a:pt x="339" y="335"/>
                    <a:pt x="339" y="335"/>
                  </a:cubicBezTo>
                  <a:cubicBezTo>
                    <a:pt x="339" y="7"/>
                    <a:pt x="339" y="7"/>
                    <a:pt x="339" y="7"/>
                  </a:cubicBezTo>
                  <a:cubicBezTo>
                    <a:pt x="265" y="7"/>
                    <a:pt x="265" y="7"/>
                    <a:pt x="265" y="7"/>
                  </a:cubicBezTo>
                  <a:cubicBezTo>
                    <a:pt x="265" y="30"/>
                    <a:pt x="265" y="30"/>
                    <a:pt x="265" y="30"/>
                  </a:cubicBezTo>
                  <a:cubicBezTo>
                    <a:pt x="262" y="31"/>
                    <a:pt x="262" y="31"/>
                    <a:pt x="262" y="31"/>
                  </a:cubicBezTo>
                  <a:cubicBezTo>
                    <a:pt x="240" y="12"/>
                    <a:pt x="210" y="0"/>
                    <a:pt x="166" y="0"/>
                  </a:cubicBezTo>
                  <a:moveTo>
                    <a:pt x="175" y="280"/>
                  </a:moveTo>
                  <a:cubicBezTo>
                    <a:pt x="120" y="280"/>
                    <a:pt x="74" y="232"/>
                    <a:pt x="74" y="171"/>
                  </a:cubicBezTo>
                  <a:cubicBezTo>
                    <a:pt x="74" y="109"/>
                    <a:pt x="120" y="62"/>
                    <a:pt x="175" y="62"/>
                  </a:cubicBezTo>
                  <a:cubicBezTo>
                    <a:pt x="211" y="62"/>
                    <a:pt x="243" y="72"/>
                    <a:pt x="265" y="89"/>
                  </a:cubicBezTo>
                  <a:cubicBezTo>
                    <a:pt x="265" y="230"/>
                    <a:pt x="265" y="230"/>
                    <a:pt x="265" y="230"/>
                  </a:cubicBezTo>
                  <a:cubicBezTo>
                    <a:pt x="246" y="266"/>
                    <a:pt x="212" y="280"/>
                    <a:pt x="175"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a:extLst>
                <a:ext uri="{FF2B5EF4-FFF2-40B4-BE49-F238E27FC236}">
                  <a16:creationId xmlns:a16="http://schemas.microsoft.com/office/drawing/2014/main" id="{9C7DF517-4DD8-42FC-8E23-D494950AB627}"/>
                </a:ext>
              </a:extLst>
            </p:cNvPr>
            <p:cNvSpPr>
              <a:spLocks/>
            </p:cNvSpPr>
            <p:nvPr userDrawn="1"/>
          </p:nvSpPr>
          <p:spPr bwMode="black">
            <a:xfrm>
              <a:off x="2912" y="2049"/>
              <a:ext cx="146" cy="199"/>
            </a:xfrm>
            <a:custGeom>
              <a:avLst/>
              <a:gdLst>
                <a:gd name="T0" fmla="*/ 44 w 124"/>
                <a:gd name="T1" fmla="*/ 169 h 169"/>
                <a:gd name="T2" fmla="*/ 124 w 124"/>
                <a:gd name="T3" fmla="*/ 169 h 169"/>
                <a:gd name="T4" fmla="*/ 54 w 124"/>
                <a:gd name="T5" fmla="*/ 0 h 169"/>
                <a:gd name="T6" fmla="*/ 0 w 124"/>
                <a:gd name="T7" fmla="*/ 64 h 169"/>
                <a:gd name="T8" fmla="*/ 44 w 124"/>
                <a:gd name="T9" fmla="*/ 169 h 169"/>
              </a:gdLst>
              <a:ahLst/>
              <a:cxnLst>
                <a:cxn ang="0">
                  <a:pos x="T0" y="T1"/>
                </a:cxn>
                <a:cxn ang="0">
                  <a:pos x="T2" y="T3"/>
                </a:cxn>
                <a:cxn ang="0">
                  <a:pos x="T4" y="T5"/>
                </a:cxn>
                <a:cxn ang="0">
                  <a:pos x="T6" y="T7"/>
                </a:cxn>
                <a:cxn ang="0">
                  <a:pos x="T8" y="T9"/>
                </a:cxn>
              </a:cxnLst>
              <a:rect l="0" t="0" r="r" b="b"/>
              <a:pathLst>
                <a:path w="124" h="169">
                  <a:moveTo>
                    <a:pt x="44" y="169"/>
                  </a:moveTo>
                  <a:cubicBezTo>
                    <a:pt x="124" y="169"/>
                    <a:pt x="124" y="169"/>
                    <a:pt x="124" y="169"/>
                  </a:cubicBezTo>
                  <a:cubicBezTo>
                    <a:pt x="54" y="0"/>
                    <a:pt x="54" y="0"/>
                    <a:pt x="54" y="0"/>
                  </a:cubicBezTo>
                  <a:cubicBezTo>
                    <a:pt x="33" y="22"/>
                    <a:pt x="15" y="44"/>
                    <a:pt x="0" y="64"/>
                  </a:cubicBezTo>
                  <a:lnTo>
                    <a:pt x="4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a:extLst>
                <a:ext uri="{FF2B5EF4-FFF2-40B4-BE49-F238E27FC236}">
                  <a16:creationId xmlns:a16="http://schemas.microsoft.com/office/drawing/2014/main" id="{17B2C270-B7FD-44ED-8C3B-77B4BA4EC51F}"/>
                </a:ext>
              </a:extLst>
            </p:cNvPr>
            <p:cNvSpPr>
              <a:spLocks/>
            </p:cNvSpPr>
            <p:nvPr userDrawn="1"/>
          </p:nvSpPr>
          <p:spPr bwMode="black">
            <a:xfrm>
              <a:off x="2999" y="1862"/>
              <a:ext cx="433" cy="386"/>
            </a:xfrm>
            <a:custGeom>
              <a:avLst/>
              <a:gdLst>
                <a:gd name="T0" fmla="*/ 340 w 433"/>
                <a:gd name="T1" fmla="*/ 0 h 386"/>
                <a:gd name="T2" fmla="*/ 219 w 433"/>
                <a:gd name="T3" fmla="*/ 283 h 386"/>
                <a:gd name="T4" fmla="*/ 218 w 433"/>
                <a:gd name="T5" fmla="*/ 283 h 386"/>
                <a:gd name="T6" fmla="*/ 218 w 433"/>
                <a:gd name="T7" fmla="*/ 283 h 386"/>
                <a:gd name="T8" fmla="*/ 217 w 433"/>
                <a:gd name="T9" fmla="*/ 283 h 386"/>
                <a:gd name="T10" fmla="*/ 217 w 433"/>
                <a:gd name="T11" fmla="*/ 283 h 386"/>
                <a:gd name="T12" fmla="*/ 216 w 433"/>
                <a:gd name="T13" fmla="*/ 283 h 386"/>
                <a:gd name="T14" fmla="*/ 216 w 433"/>
                <a:gd name="T15" fmla="*/ 283 h 386"/>
                <a:gd name="T16" fmla="*/ 214 w 433"/>
                <a:gd name="T17" fmla="*/ 283 h 386"/>
                <a:gd name="T18" fmla="*/ 93 w 433"/>
                <a:gd name="T19" fmla="*/ 0 h 386"/>
                <a:gd name="T20" fmla="*/ 0 w 433"/>
                <a:gd name="T21" fmla="*/ 0 h 386"/>
                <a:gd name="T22" fmla="*/ 173 w 433"/>
                <a:gd name="T23" fmla="*/ 386 h 386"/>
                <a:gd name="T24" fmla="*/ 173 w 433"/>
                <a:gd name="T25" fmla="*/ 386 h 386"/>
                <a:gd name="T26" fmla="*/ 173 w 433"/>
                <a:gd name="T27" fmla="*/ 386 h 386"/>
                <a:gd name="T28" fmla="*/ 260 w 433"/>
                <a:gd name="T29" fmla="*/ 386 h 386"/>
                <a:gd name="T30" fmla="*/ 260 w 433"/>
                <a:gd name="T31" fmla="*/ 386 h 386"/>
                <a:gd name="T32" fmla="*/ 260 w 433"/>
                <a:gd name="T33" fmla="*/ 386 h 386"/>
                <a:gd name="T34" fmla="*/ 433 w 433"/>
                <a:gd name="T35" fmla="*/ 0 h 386"/>
                <a:gd name="T36" fmla="*/ 340 w 433"/>
                <a:gd name="T3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3" h="386">
                  <a:moveTo>
                    <a:pt x="340" y="0"/>
                  </a:moveTo>
                  <a:lnTo>
                    <a:pt x="219" y="283"/>
                  </a:lnTo>
                  <a:lnTo>
                    <a:pt x="218" y="283"/>
                  </a:lnTo>
                  <a:lnTo>
                    <a:pt x="218" y="283"/>
                  </a:lnTo>
                  <a:lnTo>
                    <a:pt x="217" y="283"/>
                  </a:lnTo>
                  <a:lnTo>
                    <a:pt x="217" y="283"/>
                  </a:lnTo>
                  <a:lnTo>
                    <a:pt x="216" y="283"/>
                  </a:lnTo>
                  <a:lnTo>
                    <a:pt x="216" y="283"/>
                  </a:lnTo>
                  <a:lnTo>
                    <a:pt x="214" y="283"/>
                  </a:lnTo>
                  <a:lnTo>
                    <a:pt x="93" y="0"/>
                  </a:lnTo>
                  <a:lnTo>
                    <a:pt x="0" y="0"/>
                  </a:lnTo>
                  <a:lnTo>
                    <a:pt x="173" y="386"/>
                  </a:lnTo>
                  <a:lnTo>
                    <a:pt x="173" y="386"/>
                  </a:lnTo>
                  <a:lnTo>
                    <a:pt x="173" y="386"/>
                  </a:lnTo>
                  <a:lnTo>
                    <a:pt x="260" y="386"/>
                  </a:lnTo>
                  <a:lnTo>
                    <a:pt x="260" y="386"/>
                  </a:lnTo>
                  <a:lnTo>
                    <a:pt x="260" y="386"/>
                  </a:lnTo>
                  <a:lnTo>
                    <a:pt x="433" y="0"/>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a:extLst>
                <a:ext uri="{FF2B5EF4-FFF2-40B4-BE49-F238E27FC236}">
                  <a16:creationId xmlns:a16="http://schemas.microsoft.com/office/drawing/2014/main" id="{719AEFEB-13E2-4BC9-A384-724F5258C87C}"/>
                </a:ext>
              </a:extLst>
            </p:cNvPr>
            <p:cNvSpPr>
              <a:spLocks/>
            </p:cNvSpPr>
            <p:nvPr userDrawn="1"/>
          </p:nvSpPr>
          <p:spPr bwMode="black">
            <a:xfrm>
              <a:off x="2524" y="1707"/>
              <a:ext cx="395" cy="541"/>
            </a:xfrm>
            <a:custGeom>
              <a:avLst/>
              <a:gdLst>
                <a:gd name="T0" fmla="*/ 262 w 336"/>
                <a:gd name="T1" fmla="*/ 0 h 459"/>
                <a:gd name="T2" fmla="*/ 262 w 336"/>
                <a:gd name="T3" fmla="*/ 0 h 459"/>
                <a:gd name="T4" fmla="*/ 192 w 336"/>
                <a:gd name="T5" fmla="*/ 0 h 459"/>
                <a:gd name="T6" fmla="*/ 192 w 336"/>
                <a:gd name="T7" fmla="*/ 0 h 459"/>
                <a:gd name="T8" fmla="*/ 0 w 336"/>
                <a:gd name="T9" fmla="*/ 459 h 459"/>
                <a:gd name="T10" fmla="*/ 80 w 336"/>
                <a:gd name="T11" fmla="*/ 459 h 459"/>
                <a:gd name="T12" fmla="*/ 219 w 336"/>
                <a:gd name="T13" fmla="*/ 132 h 459"/>
                <a:gd name="T14" fmla="*/ 225 w 336"/>
                <a:gd name="T15" fmla="*/ 114 h 459"/>
                <a:gd name="T16" fmla="*/ 229 w 336"/>
                <a:gd name="T17" fmla="*/ 114 h 459"/>
                <a:gd name="T18" fmla="*/ 235 w 336"/>
                <a:gd name="T19" fmla="*/ 132 h 459"/>
                <a:gd name="T20" fmla="*/ 276 w 336"/>
                <a:gd name="T21" fmla="*/ 229 h 459"/>
                <a:gd name="T22" fmla="*/ 336 w 336"/>
                <a:gd name="T23" fmla="*/ 175 h 459"/>
                <a:gd name="T24" fmla="*/ 262 w 336"/>
                <a:gd name="T2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459">
                  <a:moveTo>
                    <a:pt x="262" y="0"/>
                  </a:moveTo>
                  <a:cubicBezTo>
                    <a:pt x="262" y="0"/>
                    <a:pt x="262" y="0"/>
                    <a:pt x="262" y="0"/>
                  </a:cubicBezTo>
                  <a:cubicBezTo>
                    <a:pt x="192" y="0"/>
                    <a:pt x="192" y="0"/>
                    <a:pt x="192" y="0"/>
                  </a:cubicBezTo>
                  <a:cubicBezTo>
                    <a:pt x="192" y="0"/>
                    <a:pt x="192" y="0"/>
                    <a:pt x="192" y="0"/>
                  </a:cubicBezTo>
                  <a:cubicBezTo>
                    <a:pt x="0" y="459"/>
                    <a:pt x="0" y="459"/>
                    <a:pt x="0" y="459"/>
                  </a:cubicBezTo>
                  <a:cubicBezTo>
                    <a:pt x="80" y="459"/>
                    <a:pt x="80" y="459"/>
                    <a:pt x="80" y="459"/>
                  </a:cubicBezTo>
                  <a:cubicBezTo>
                    <a:pt x="219" y="132"/>
                    <a:pt x="219" y="132"/>
                    <a:pt x="219" y="132"/>
                  </a:cubicBezTo>
                  <a:cubicBezTo>
                    <a:pt x="225" y="114"/>
                    <a:pt x="225" y="114"/>
                    <a:pt x="225" y="114"/>
                  </a:cubicBezTo>
                  <a:cubicBezTo>
                    <a:pt x="229" y="114"/>
                    <a:pt x="229" y="114"/>
                    <a:pt x="229" y="114"/>
                  </a:cubicBezTo>
                  <a:cubicBezTo>
                    <a:pt x="235" y="132"/>
                    <a:pt x="235" y="132"/>
                    <a:pt x="235" y="132"/>
                  </a:cubicBezTo>
                  <a:cubicBezTo>
                    <a:pt x="276" y="229"/>
                    <a:pt x="276" y="229"/>
                    <a:pt x="276" y="229"/>
                  </a:cubicBezTo>
                  <a:cubicBezTo>
                    <a:pt x="295" y="210"/>
                    <a:pt x="315" y="192"/>
                    <a:pt x="336" y="175"/>
                  </a:cubicBez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4">
              <a:extLst>
                <a:ext uri="{FF2B5EF4-FFF2-40B4-BE49-F238E27FC236}">
                  <a16:creationId xmlns:a16="http://schemas.microsoft.com/office/drawing/2014/main" id="{60A24CFA-6D59-4D07-8990-C5D7D96D5428}"/>
                </a:ext>
              </a:extLst>
            </p:cNvPr>
            <p:cNvSpPr>
              <a:spLocks/>
            </p:cNvSpPr>
            <p:nvPr userDrawn="1"/>
          </p:nvSpPr>
          <p:spPr bwMode="black">
            <a:xfrm>
              <a:off x="2524" y="2434"/>
              <a:ext cx="102" cy="151"/>
            </a:xfrm>
            <a:custGeom>
              <a:avLst/>
              <a:gdLst>
                <a:gd name="T0" fmla="*/ 60 w 102"/>
                <a:gd name="T1" fmla="*/ 15 h 151"/>
                <a:gd name="T2" fmla="*/ 60 w 102"/>
                <a:gd name="T3" fmla="*/ 151 h 151"/>
                <a:gd name="T4" fmla="*/ 43 w 102"/>
                <a:gd name="T5" fmla="*/ 151 h 151"/>
                <a:gd name="T6" fmla="*/ 43 w 102"/>
                <a:gd name="T7" fmla="*/ 15 h 151"/>
                <a:gd name="T8" fmla="*/ 0 w 102"/>
                <a:gd name="T9" fmla="*/ 15 h 151"/>
                <a:gd name="T10" fmla="*/ 0 w 102"/>
                <a:gd name="T11" fmla="*/ 0 h 151"/>
                <a:gd name="T12" fmla="*/ 102 w 102"/>
                <a:gd name="T13" fmla="*/ 0 h 151"/>
                <a:gd name="T14" fmla="*/ 102 w 102"/>
                <a:gd name="T15" fmla="*/ 15 h 151"/>
                <a:gd name="T16" fmla="*/ 60 w 102"/>
                <a:gd name="T17"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51">
                  <a:moveTo>
                    <a:pt x="60" y="15"/>
                  </a:moveTo>
                  <a:lnTo>
                    <a:pt x="60" y="151"/>
                  </a:lnTo>
                  <a:lnTo>
                    <a:pt x="43" y="151"/>
                  </a:lnTo>
                  <a:lnTo>
                    <a:pt x="43" y="15"/>
                  </a:lnTo>
                  <a:lnTo>
                    <a:pt x="0" y="15"/>
                  </a:lnTo>
                  <a:lnTo>
                    <a:pt x="0" y="0"/>
                  </a:lnTo>
                  <a:lnTo>
                    <a:pt x="102" y="0"/>
                  </a:lnTo>
                  <a:lnTo>
                    <a:pt x="102" y="15"/>
                  </a:lnTo>
                  <a:lnTo>
                    <a:pt x="6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a:extLst>
                <a:ext uri="{FF2B5EF4-FFF2-40B4-BE49-F238E27FC236}">
                  <a16:creationId xmlns:a16="http://schemas.microsoft.com/office/drawing/2014/main" id="{EE1E7B33-9CFB-4833-A99A-E721BBC38214}"/>
                </a:ext>
              </a:extLst>
            </p:cNvPr>
            <p:cNvSpPr>
              <a:spLocks noEditPoints="1"/>
            </p:cNvSpPr>
            <p:nvPr userDrawn="1"/>
          </p:nvSpPr>
          <p:spPr bwMode="black">
            <a:xfrm>
              <a:off x="2626" y="2475"/>
              <a:ext cx="105" cy="111"/>
            </a:xfrm>
            <a:custGeom>
              <a:avLst/>
              <a:gdLst>
                <a:gd name="T0" fmla="*/ 74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4 w 89"/>
                <a:gd name="T17" fmla="*/ 94 h 94"/>
                <a:gd name="T18" fmla="*/ 0 w 89"/>
                <a:gd name="T19" fmla="*/ 47 h 94"/>
                <a:gd name="T20" fmla="*/ 45 w 89"/>
                <a:gd name="T21" fmla="*/ 0 h 94"/>
                <a:gd name="T22" fmla="*/ 74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4"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4" y="94"/>
                  </a:cubicBezTo>
                  <a:cubicBezTo>
                    <a:pt x="19" y="94"/>
                    <a:pt x="0" y="73"/>
                    <a:pt x="0" y="47"/>
                  </a:cubicBezTo>
                  <a:cubicBezTo>
                    <a:pt x="0" y="21"/>
                    <a:pt x="20" y="0"/>
                    <a:pt x="45" y="0"/>
                  </a:cubicBezTo>
                  <a:cubicBezTo>
                    <a:pt x="58" y="0"/>
                    <a:pt x="67" y="4"/>
                    <a:pt x="74"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a:extLst>
                <a:ext uri="{FF2B5EF4-FFF2-40B4-BE49-F238E27FC236}">
                  <a16:creationId xmlns:a16="http://schemas.microsoft.com/office/drawing/2014/main" id="{E0881F17-8B2D-49FA-8F78-9DAD51E140FF}"/>
                </a:ext>
              </a:extLst>
            </p:cNvPr>
            <p:cNvSpPr>
              <a:spLocks/>
            </p:cNvSpPr>
            <p:nvPr userDrawn="1"/>
          </p:nvSpPr>
          <p:spPr bwMode="black">
            <a:xfrm>
              <a:off x="2754" y="2477"/>
              <a:ext cx="104" cy="108"/>
            </a:xfrm>
            <a:custGeom>
              <a:avLst/>
              <a:gdLst>
                <a:gd name="T0" fmla="*/ 52 w 104"/>
                <a:gd name="T1" fmla="*/ 65 h 108"/>
                <a:gd name="T2" fmla="*/ 19 w 104"/>
                <a:gd name="T3" fmla="*/ 108 h 108"/>
                <a:gd name="T4" fmla="*/ 0 w 104"/>
                <a:gd name="T5" fmla="*/ 108 h 108"/>
                <a:gd name="T6" fmla="*/ 43 w 104"/>
                <a:gd name="T7" fmla="*/ 52 h 108"/>
                <a:gd name="T8" fmla="*/ 3 w 104"/>
                <a:gd name="T9" fmla="*/ 0 h 108"/>
                <a:gd name="T10" fmla="*/ 22 w 104"/>
                <a:gd name="T11" fmla="*/ 0 h 108"/>
                <a:gd name="T12" fmla="*/ 52 w 104"/>
                <a:gd name="T13" fmla="*/ 39 h 108"/>
                <a:gd name="T14" fmla="*/ 83 w 104"/>
                <a:gd name="T15" fmla="*/ 0 h 108"/>
                <a:gd name="T16" fmla="*/ 102 w 104"/>
                <a:gd name="T17" fmla="*/ 0 h 108"/>
                <a:gd name="T18" fmla="*/ 62 w 104"/>
                <a:gd name="T19" fmla="*/ 52 h 108"/>
                <a:gd name="T20" fmla="*/ 104 w 104"/>
                <a:gd name="T21" fmla="*/ 108 h 108"/>
                <a:gd name="T22" fmla="*/ 85 w 104"/>
                <a:gd name="T23" fmla="*/ 108 h 108"/>
                <a:gd name="T24" fmla="*/ 52 w 104"/>
                <a:gd name="T25" fmla="*/ 6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52" y="65"/>
                  </a:moveTo>
                  <a:lnTo>
                    <a:pt x="19" y="108"/>
                  </a:lnTo>
                  <a:lnTo>
                    <a:pt x="0" y="108"/>
                  </a:lnTo>
                  <a:lnTo>
                    <a:pt x="43" y="52"/>
                  </a:lnTo>
                  <a:lnTo>
                    <a:pt x="3" y="0"/>
                  </a:lnTo>
                  <a:lnTo>
                    <a:pt x="22" y="0"/>
                  </a:lnTo>
                  <a:lnTo>
                    <a:pt x="52" y="39"/>
                  </a:lnTo>
                  <a:lnTo>
                    <a:pt x="83" y="0"/>
                  </a:lnTo>
                  <a:lnTo>
                    <a:pt x="102" y="0"/>
                  </a:lnTo>
                  <a:lnTo>
                    <a:pt x="62" y="52"/>
                  </a:lnTo>
                  <a:lnTo>
                    <a:pt x="104" y="108"/>
                  </a:lnTo>
                  <a:lnTo>
                    <a:pt x="85" y="108"/>
                  </a:lnTo>
                  <a:lnTo>
                    <a:pt x="52"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a:extLst>
                <a:ext uri="{FF2B5EF4-FFF2-40B4-BE49-F238E27FC236}">
                  <a16:creationId xmlns:a16="http://schemas.microsoft.com/office/drawing/2014/main" id="{8E287595-A7F6-457E-B8D6-8BE7F9D3FA9B}"/>
                </a:ext>
              </a:extLst>
            </p:cNvPr>
            <p:cNvSpPr>
              <a:spLocks/>
            </p:cNvSpPr>
            <p:nvPr userDrawn="1"/>
          </p:nvSpPr>
          <p:spPr bwMode="black">
            <a:xfrm>
              <a:off x="2936" y="2475"/>
              <a:ext cx="81"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2"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8">
              <a:extLst>
                <a:ext uri="{FF2B5EF4-FFF2-40B4-BE49-F238E27FC236}">
                  <a16:creationId xmlns:a16="http://schemas.microsoft.com/office/drawing/2014/main" id="{C3CD8DC9-821E-4664-996E-65225C860E0F}"/>
                </a:ext>
              </a:extLst>
            </p:cNvPr>
            <p:cNvSpPr>
              <a:spLocks noEditPoints="1"/>
            </p:cNvSpPr>
            <p:nvPr userDrawn="1"/>
          </p:nvSpPr>
          <p:spPr bwMode="black">
            <a:xfrm>
              <a:off x="3026" y="2475"/>
              <a:ext cx="112" cy="111"/>
            </a:xfrm>
            <a:custGeom>
              <a:avLst/>
              <a:gdLst>
                <a:gd name="T0" fmla="*/ 47 w 95"/>
                <a:gd name="T1" fmla="*/ 0 h 94"/>
                <a:gd name="T2" fmla="*/ 95 w 95"/>
                <a:gd name="T3" fmla="*/ 47 h 94"/>
                <a:gd name="T4" fmla="*/ 47 w 95"/>
                <a:gd name="T5" fmla="*/ 94 h 94"/>
                <a:gd name="T6" fmla="*/ 0 w 95"/>
                <a:gd name="T7" fmla="*/ 47 h 94"/>
                <a:gd name="T8" fmla="*/ 47 w 95"/>
                <a:gd name="T9" fmla="*/ 0 h 94"/>
                <a:gd name="T10" fmla="*/ 47 w 95"/>
                <a:gd name="T11" fmla="*/ 82 h 94"/>
                <a:gd name="T12" fmla="*/ 80 w 95"/>
                <a:gd name="T13" fmla="*/ 47 h 94"/>
                <a:gd name="T14" fmla="*/ 47 w 95"/>
                <a:gd name="T15" fmla="*/ 12 h 94"/>
                <a:gd name="T16" fmla="*/ 15 w 95"/>
                <a:gd name="T17" fmla="*/ 47 h 94"/>
                <a:gd name="T18" fmla="*/ 47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7" y="0"/>
                  </a:moveTo>
                  <a:cubicBezTo>
                    <a:pt x="74" y="0"/>
                    <a:pt x="95" y="21"/>
                    <a:pt x="95" y="47"/>
                  </a:cubicBezTo>
                  <a:cubicBezTo>
                    <a:pt x="95" y="73"/>
                    <a:pt x="74" y="94"/>
                    <a:pt x="47" y="94"/>
                  </a:cubicBezTo>
                  <a:cubicBezTo>
                    <a:pt x="21" y="94"/>
                    <a:pt x="0" y="73"/>
                    <a:pt x="0" y="47"/>
                  </a:cubicBezTo>
                  <a:cubicBezTo>
                    <a:pt x="0" y="21"/>
                    <a:pt x="21" y="0"/>
                    <a:pt x="47" y="0"/>
                  </a:cubicBezTo>
                  <a:close/>
                  <a:moveTo>
                    <a:pt x="47" y="82"/>
                  </a:moveTo>
                  <a:cubicBezTo>
                    <a:pt x="65" y="82"/>
                    <a:pt x="80" y="66"/>
                    <a:pt x="80" y="47"/>
                  </a:cubicBezTo>
                  <a:cubicBezTo>
                    <a:pt x="80" y="28"/>
                    <a:pt x="65" y="12"/>
                    <a:pt x="47" y="12"/>
                  </a:cubicBezTo>
                  <a:cubicBezTo>
                    <a:pt x="29" y="12"/>
                    <a:pt x="15" y="28"/>
                    <a:pt x="15" y="47"/>
                  </a:cubicBezTo>
                  <a:cubicBezTo>
                    <a:pt x="15" y="66"/>
                    <a:pt x="29" y="82"/>
                    <a:pt x="4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9">
              <a:extLst>
                <a:ext uri="{FF2B5EF4-FFF2-40B4-BE49-F238E27FC236}">
                  <a16:creationId xmlns:a16="http://schemas.microsoft.com/office/drawing/2014/main" id="{3E79AB79-B45B-4E32-906D-EF5C1E23E24A}"/>
                </a:ext>
              </a:extLst>
            </p:cNvPr>
            <p:cNvSpPr>
              <a:spLocks/>
            </p:cNvSpPr>
            <p:nvPr userDrawn="1"/>
          </p:nvSpPr>
          <p:spPr bwMode="black">
            <a:xfrm>
              <a:off x="3164" y="2475"/>
              <a:ext cx="166" cy="110"/>
            </a:xfrm>
            <a:custGeom>
              <a:avLst/>
              <a:gdLst>
                <a:gd name="T0" fmla="*/ 141 w 141"/>
                <a:gd name="T1" fmla="*/ 93 h 93"/>
                <a:gd name="T2" fmla="*/ 126 w 141"/>
                <a:gd name="T3" fmla="*/ 93 h 93"/>
                <a:gd name="T4" fmla="*/ 126 w 141"/>
                <a:gd name="T5" fmla="*/ 38 h 93"/>
                <a:gd name="T6" fmla="*/ 106 w 141"/>
                <a:gd name="T7" fmla="*/ 12 h 93"/>
                <a:gd name="T8" fmla="*/ 78 w 141"/>
                <a:gd name="T9" fmla="*/ 29 h 93"/>
                <a:gd name="T10" fmla="*/ 79 w 141"/>
                <a:gd name="T11" fmla="*/ 34 h 93"/>
                <a:gd name="T12" fmla="*/ 79 w 141"/>
                <a:gd name="T13" fmla="*/ 93 h 93"/>
                <a:gd name="T14" fmla="*/ 64 w 141"/>
                <a:gd name="T15" fmla="*/ 93 h 93"/>
                <a:gd name="T16" fmla="*/ 64 w 141"/>
                <a:gd name="T17" fmla="*/ 34 h 93"/>
                <a:gd name="T18" fmla="*/ 44 w 141"/>
                <a:gd name="T19" fmla="*/ 12 h 93"/>
                <a:gd name="T20" fmla="*/ 15 w 141"/>
                <a:gd name="T21" fmla="*/ 30 h 93"/>
                <a:gd name="T22" fmla="*/ 15 w 141"/>
                <a:gd name="T23" fmla="*/ 93 h 93"/>
                <a:gd name="T24" fmla="*/ 0 w 141"/>
                <a:gd name="T25" fmla="*/ 93 h 93"/>
                <a:gd name="T26" fmla="*/ 0 w 141"/>
                <a:gd name="T27" fmla="*/ 2 h 93"/>
                <a:gd name="T28" fmla="*/ 15 w 141"/>
                <a:gd name="T29" fmla="*/ 2 h 93"/>
                <a:gd name="T30" fmla="*/ 15 w 141"/>
                <a:gd name="T31" fmla="*/ 13 h 93"/>
                <a:gd name="T32" fmla="*/ 16 w 141"/>
                <a:gd name="T33" fmla="*/ 13 h 93"/>
                <a:gd name="T34" fmla="*/ 48 w 141"/>
                <a:gd name="T35" fmla="*/ 0 h 93"/>
                <a:gd name="T36" fmla="*/ 75 w 141"/>
                <a:gd name="T37" fmla="*/ 16 h 93"/>
                <a:gd name="T38" fmla="*/ 110 w 141"/>
                <a:gd name="T39" fmla="*/ 0 h 93"/>
                <a:gd name="T40" fmla="*/ 141 w 141"/>
                <a:gd name="T41" fmla="*/ 38 h 93"/>
                <a:gd name="T42" fmla="*/ 141 w 141"/>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93">
                  <a:moveTo>
                    <a:pt x="141" y="93"/>
                  </a:moveTo>
                  <a:cubicBezTo>
                    <a:pt x="126" y="93"/>
                    <a:pt x="126" y="93"/>
                    <a:pt x="126" y="93"/>
                  </a:cubicBezTo>
                  <a:cubicBezTo>
                    <a:pt x="126" y="38"/>
                    <a:pt x="126" y="38"/>
                    <a:pt x="126" y="38"/>
                  </a:cubicBezTo>
                  <a:cubicBezTo>
                    <a:pt x="126" y="20"/>
                    <a:pt x="117" y="12"/>
                    <a:pt x="106" y="12"/>
                  </a:cubicBezTo>
                  <a:cubicBezTo>
                    <a:pt x="95" y="12"/>
                    <a:pt x="84" y="17"/>
                    <a:pt x="78" y="29"/>
                  </a:cubicBezTo>
                  <a:cubicBezTo>
                    <a:pt x="79" y="31"/>
                    <a:pt x="79" y="33"/>
                    <a:pt x="79" y="34"/>
                  </a:cubicBezTo>
                  <a:cubicBezTo>
                    <a:pt x="79" y="93"/>
                    <a:pt x="79" y="93"/>
                    <a:pt x="79" y="93"/>
                  </a:cubicBezTo>
                  <a:cubicBezTo>
                    <a:pt x="64" y="93"/>
                    <a:pt x="64" y="93"/>
                    <a:pt x="64" y="93"/>
                  </a:cubicBezTo>
                  <a:cubicBezTo>
                    <a:pt x="64" y="34"/>
                    <a:pt x="64" y="34"/>
                    <a:pt x="64" y="34"/>
                  </a:cubicBezTo>
                  <a:cubicBezTo>
                    <a:pt x="64" y="19"/>
                    <a:pt x="55" y="12"/>
                    <a:pt x="44" y="12"/>
                  </a:cubicBezTo>
                  <a:cubicBezTo>
                    <a:pt x="32" y="12"/>
                    <a:pt x="21" y="17"/>
                    <a:pt x="15" y="30"/>
                  </a:cubicBezTo>
                  <a:cubicBezTo>
                    <a:pt x="15" y="93"/>
                    <a:pt x="15" y="93"/>
                    <a:pt x="15" y="93"/>
                  </a:cubicBezTo>
                  <a:cubicBezTo>
                    <a:pt x="0" y="93"/>
                    <a:pt x="0" y="93"/>
                    <a:pt x="0" y="93"/>
                  </a:cubicBezTo>
                  <a:cubicBezTo>
                    <a:pt x="0" y="2"/>
                    <a:pt x="0" y="2"/>
                    <a:pt x="0" y="2"/>
                  </a:cubicBezTo>
                  <a:cubicBezTo>
                    <a:pt x="15" y="2"/>
                    <a:pt x="15" y="2"/>
                    <a:pt x="15" y="2"/>
                  </a:cubicBezTo>
                  <a:cubicBezTo>
                    <a:pt x="15" y="13"/>
                    <a:pt x="15" y="13"/>
                    <a:pt x="15" y="13"/>
                  </a:cubicBezTo>
                  <a:cubicBezTo>
                    <a:pt x="16" y="13"/>
                    <a:pt x="16" y="13"/>
                    <a:pt x="16" y="13"/>
                  </a:cubicBezTo>
                  <a:cubicBezTo>
                    <a:pt x="22" y="5"/>
                    <a:pt x="34" y="0"/>
                    <a:pt x="48" y="0"/>
                  </a:cubicBezTo>
                  <a:cubicBezTo>
                    <a:pt x="59" y="0"/>
                    <a:pt x="69" y="5"/>
                    <a:pt x="75" y="16"/>
                  </a:cubicBezTo>
                  <a:cubicBezTo>
                    <a:pt x="83" y="6"/>
                    <a:pt x="94" y="0"/>
                    <a:pt x="110" y="0"/>
                  </a:cubicBezTo>
                  <a:cubicBezTo>
                    <a:pt x="127" y="0"/>
                    <a:pt x="141" y="13"/>
                    <a:pt x="141" y="38"/>
                  </a:cubicBezTo>
                  <a:lnTo>
                    <a:pt x="14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0">
              <a:extLst>
                <a:ext uri="{FF2B5EF4-FFF2-40B4-BE49-F238E27FC236}">
                  <a16:creationId xmlns:a16="http://schemas.microsoft.com/office/drawing/2014/main" id="{4B73F455-86CF-4F12-9C6D-18755FBF4EB7}"/>
                </a:ext>
              </a:extLst>
            </p:cNvPr>
            <p:cNvSpPr>
              <a:spLocks noEditPoints="1"/>
            </p:cNvSpPr>
            <p:nvPr userDrawn="1"/>
          </p:nvSpPr>
          <p:spPr bwMode="black">
            <a:xfrm>
              <a:off x="3363" y="2475"/>
              <a:ext cx="105" cy="158"/>
            </a:xfrm>
            <a:custGeom>
              <a:avLst/>
              <a:gdLst>
                <a:gd name="T0" fmla="*/ 15 w 89"/>
                <a:gd name="T1" fmla="*/ 86 h 134"/>
                <a:gd name="T2" fmla="*/ 14 w 89"/>
                <a:gd name="T3" fmla="*/ 87 h 134"/>
                <a:gd name="T4" fmla="*/ 14 w 89"/>
                <a:gd name="T5" fmla="*/ 134 h 134"/>
                <a:gd name="T6" fmla="*/ 0 w 89"/>
                <a:gd name="T7" fmla="*/ 134 h 134"/>
                <a:gd name="T8" fmla="*/ 0 w 89"/>
                <a:gd name="T9" fmla="*/ 2 h 134"/>
                <a:gd name="T10" fmla="*/ 14 w 89"/>
                <a:gd name="T11" fmla="*/ 2 h 134"/>
                <a:gd name="T12" fmla="*/ 14 w 89"/>
                <a:gd name="T13" fmla="*/ 12 h 134"/>
                <a:gd name="T14" fmla="*/ 15 w 89"/>
                <a:gd name="T15" fmla="*/ 12 h 134"/>
                <a:gd name="T16" fmla="*/ 45 w 89"/>
                <a:gd name="T17" fmla="*/ 0 h 134"/>
                <a:gd name="T18" fmla="*/ 89 w 89"/>
                <a:gd name="T19" fmla="*/ 47 h 134"/>
                <a:gd name="T20" fmla="*/ 43 w 89"/>
                <a:gd name="T21" fmla="*/ 94 h 134"/>
                <a:gd name="T22" fmla="*/ 15 w 89"/>
                <a:gd name="T23" fmla="*/ 86 h 134"/>
                <a:gd name="T24" fmla="*/ 14 w 89"/>
                <a:gd name="T25" fmla="*/ 28 h 134"/>
                <a:gd name="T26" fmla="*/ 14 w 89"/>
                <a:gd name="T27" fmla="*/ 74 h 134"/>
                <a:gd name="T28" fmla="*/ 41 w 89"/>
                <a:gd name="T29" fmla="*/ 82 h 134"/>
                <a:gd name="T30" fmla="*/ 74 w 89"/>
                <a:gd name="T31" fmla="*/ 47 h 134"/>
                <a:gd name="T32" fmla="*/ 41 w 89"/>
                <a:gd name="T33" fmla="*/ 12 h 134"/>
                <a:gd name="T34" fmla="*/ 14 w 89"/>
                <a:gd name="T35" fmla="*/ 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134">
                  <a:moveTo>
                    <a:pt x="15" y="86"/>
                  </a:moveTo>
                  <a:cubicBezTo>
                    <a:pt x="14" y="87"/>
                    <a:pt x="14" y="87"/>
                    <a:pt x="14" y="87"/>
                  </a:cubicBezTo>
                  <a:cubicBezTo>
                    <a:pt x="14" y="134"/>
                    <a:pt x="14" y="134"/>
                    <a:pt x="14" y="134"/>
                  </a:cubicBezTo>
                  <a:cubicBezTo>
                    <a:pt x="0" y="134"/>
                    <a:pt x="0" y="134"/>
                    <a:pt x="0" y="134"/>
                  </a:cubicBezTo>
                  <a:cubicBezTo>
                    <a:pt x="0" y="2"/>
                    <a:pt x="0" y="2"/>
                    <a:pt x="0" y="2"/>
                  </a:cubicBezTo>
                  <a:cubicBezTo>
                    <a:pt x="14" y="2"/>
                    <a:pt x="14" y="2"/>
                    <a:pt x="14" y="2"/>
                  </a:cubicBezTo>
                  <a:cubicBezTo>
                    <a:pt x="14" y="12"/>
                    <a:pt x="14" y="12"/>
                    <a:pt x="14" y="12"/>
                  </a:cubicBezTo>
                  <a:cubicBezTo>
                    <a:pt x="15" y="12"/>
                    <a:pt x="15" y="12"/>
                    <a:pt x="15" y="12"/>
                  </a:cubicBezTo>
                  <a:cubicBezTo>
                    <a:pt x="21" y="5"/>
                    <a:pt x="32" y="0"/>
                    <a:pt x="45" y="0"/>
                  </a:cubicBezTo>
                  <a:cubicBezTo>
                    <a:pt x="69" y="0"/>
                    <a:pt x="89" y="21"/>
                    <a:pt x="89" y="47"/>
                  </a:cubicBezTo>
                  <a:cubicBezTo>
                    <a:pt x="89" y="73"/>
                    <a:pt x="69" y="94"/>
                    <a:pt x="43" y="94"/>
                  </a:cubicBezTo>
                  <a:cubicBezTo>
                    <a:pt x="30" y="94"/>
                    <a:pt x="21" y="91"/>
                    <a:pt x="15" y="86"/>
                  </a:cubicBezTo>
                  <a:close/>
                  <a:moveTo>
                    <a:pt x="14" y="28"/>
                  </a:moveTo>
                  <a:cubicBezTo>
                    <a:pt x="14" y="74"/>
                    <a:pt x="14" y="74"/>
                    <a:pt x="14" y="74"/>
                  </a:cubicBezTo>
                  <a:cubicBezTo>
                    <a:pt x="21" y="79"/>
                    <a:pt x="30" y="82"/>
                    <a:pt x="41" y="82"/>
                  </a:cubicBezTo>
                  <a:cubicBezTo>
                    <a:pt x="59" y="82"/>
                    <a:pt x="74" y="66"/>
                    <a:pt x="74" y="47"/>
                  </a:cubicBezTo>
                  <a:cubicBezTo>
                    <a:pt x="74" y="28"/>
                    <a:pt x="59" y="12"/>
                    <a:pt x="41" y="12"/>
                  </a:cubicBezTo>
                  <a:cubicBezTo>
                    <a:pt x="30" y="12"/>
                    <a:pt x="20" y="17"/>
                    <a:pt x="1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1">
              <a:extLst>
                <a:ext uri="{FF2B5EF4-FFF2-40B4-BE49-F238E27FC236}">
                  <a16:creationId xmlns:a16="http://schemas.microsoft.com/office/drawing/2014/main" id="{E2D525E1-3EA5-4004-8850-057D86171684}"/>
                </a:ext>
              </a:extLst>
            </p:cNvPr>
            <p:cNvSpPr>
              <a:spLocks/>
            </p:cNvSpPr>
            <p:nvPr userDrawn="1"/>
          </p:nvSpPr>
          <p:spPr bwMode="black">
            <a:xfrm>
              <a:off x="3493" y="2428"/>
              <a:ext cx="35" cy="158"/>
            </a:xfrm>
            <a:custGeom>
              <a:avLst/>
              <a:gdLst>
                <a:gd name="T0" fmla="*/ 27 w 29"/>
                <a:gd name="T1" fmla="*/ 134 h 134"/>
                <a:gd name="T2" fmla="*/ 0 w 29"/>
                <a:gd name="T3" fmla="*/ 109 h 134"/>
                <a:gd name="T4" fmla="*/ 0 w 29"/>
                <a:gd name="T5" fmla="*/ 0 h 134"/>
                <a:gd name="T6" fmla="*/ 15 w 29"/>
                <a:gd name="T7" fmla="*/ 0 h 134"/>
                <a:gd name="T8" fmla="*/ 15 w 29"/>
                <a:gd name="T9" fmla="*/ 109 h 134"/>
                <a:gd name="T10" fmla="*/ 29 w 29"/>
                <a:gd name="T11" fmla="*/ 121 h 134"/>
                <a:gd name="T12" fmla="*/ 27 w 2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 h="134">
                  <a:moveTo>
                    <a:pt x="27" y="134"/>
                  </a:moveTo>
                  <a:cubicBezTo>
                    <a:pt x="11" y="134"/>
                    <a:pt x="0" y="125"/>
                    <a:pt x="0" y="109"/>
                  </a:cubicBezTo>
                  <a:cubicBezTo>
                    <a:pt x="0" y="0"/>
                    <a:pt x="0" y="0"/>
                    <a:pt x="0" y="0"/>
                  </a:cubicBezTo>
                  <a:cubicBezTo>
                    <a:pt x="15" y="0"/>
                    <a:pt x="15" y="0"/>
                    <a:pt x="15" y="0"/>
                  </a:cubicBezTo>
                  <a:cubicBezTo>
                    <a:pt x="15" y="109"/>
                    <a:pt x="15" y="109"/>
                    <a:pt x="15" y="109"/>
                  </a:cubicBezTo>
                  <a:cubicBezTo>
                    <a:pt x="15" y="117"/>
                    <a:pt x="21" y="121"/>
                    <a:pt x="29" y="121"/>
                  </a:cubicBezTo>
                  <a:lnTo>
                    <a:pt x="2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2">
              <a:extLst>
                <a:ext uri="{FF2B5EF4-FFF2-40B4-BE49-F238E27FC236}">
                  <a16:creationId xmlns:a16="http://schemas.microsoft.com/office/drawing/2014/main" id="{4109304D-99AD-4468-8A3D-87FCADCB9073}"/>
                </a:ext>
              </a:extLst>
            </p:cNvPr>
            <p:cNvSpPr>
              <a:spLocks noEditPoints="1"/>
            </p:cNvSpPr>
            <p:nvPr userDrawn="1"/>
          </p:nvSpPr>
          <p:spPr bwMode="black">
            <a:xfrm>
              <a:off x="3551" y="2432"/>
              <a:ext cx="21" cy="153"/>
            </a:xfrm>
            <a:custGeom>
              <a:avLst/>
              <a:gdLst>
                <a:gd name="T0" fmla="*/ 9 w 18"/>
                <a:gd name="T1" fmla="*/ 0 h 129"/>
                <a:gd name="T2" fmla="*/ 18 w 18"/>
                <a:gd name="T3" fmla="*/ 9 h 129"/>
                <a:gd name="T4" fmla="*/ 9 w 18"/>
                <a:gd name="T5" fmla="*/ 17 h 129"/>
                <a:gd name="T6" fmla="*/ 0 w 18"/>
                <a:gd name="T7" fmla="*/ 9 h 129"/>
                <a:gd name="T8" fmla="*/ 9 w 18"/>
                <a:gd name="T9" fmla="*/ 0 h 129"/>
                <a:gd name="T10" fmla="*/ 2 w 18"/>
                <a:gd name="T11" fmla="*/ 38 h 129"/>
                <a:gd name="T12" fmla="*/ 16 w 18"/>
                <a:gd name="T13" fmla="*/ 38 h 129"/>
                <a:gd name="T14" fmla="*/ 16 w 18"/>
                <a:gd name="T15" fmla="*/ 129 h 129"/>
                <a:gd name="T16" fmla="*/ 2 w 18"/>
                <a:gd name="T17" fmla="*/ 129 h 129"/>
                <a:gd name="T18" fmla="*/ 2 w 18"/>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9">
                  <a:moveTo>
                    <a:pt x="9" y="0"/>
                  </a:moveTo>
                  <a:cubicBezTo>
                    <a:pt x="14" y="0"/>
                    <a:pt x="18" y="4"/>
                    <a:pt x="18" y="9"/>
                  </a:cubicBezTo>
                  <a:cubicBezTo>
                    <a:pt x="18" y="13"/>
                    <a:pt x="14" y="17"/>
                    <a:pt x="9" y="17"/>
                  </a:cubicBezTo>
                  <a:cubicBezTo>
                    <a:pt x="4" y="17"/>
                    <a:pt x="0" y="13"/>
                    <a:pt x="0" y="9"/>
                  </a:cubicBezTo>
                  <a:cubicBezTo>
                    <a:pt x="0" y="4"/>
                    <a:pt x="4" y="0"/>
                    <a:pt x="9" y="0"/>
                  </a:cubicBezTo>
                  <a:close/>
                  <a:moveTo>
                    <a:pt x="2" y="38"/>
                  </a:moveTo>
                  <a:cubicBezTo>
                    <a:pt x="16" y="38"/>
                    <a:pt x="16" y="38"/>
                    <a:pt x="16" y="38"/>
                  </a:cubicBezTo>
                  <a:cubicBezTo>
                    <a:pt x="16" y="129"/>
                    <a:pt x="16" y="129"/>
                    <a:pt x="16" y="129"/>
                  </a:cubicBezTo>
                  <a:cubicBezTo>
                    <a:pt x="2" y="129"/>
                    <a:pt x="2" y="129"/>
                    <a:pt x="2" y="129"/>
                  </a:cubicBezTo>
                  <a:lnTo>
                    <a:pt x="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3">
              <a:extLst>
                <a:ext uri="{FF2B5EF4-FFF2-40B4-BE49-F238E27FC236}">
                  <a16:creationId xmlns:a16="http://schemas.microsoft.com/office/drawing/2014/main" id="{7EF1A094-985E-43C5-9ECC-079415D0928F}"/>
                </a:ext>
              </a:extLst>
            </p:cNvPr>
            <p:cNvSpPr>
              <a:spLocks noEditPoints="1"/>
            </p:cNvSpPr>
            <p:nvPr userDrawn="1"/>
          </p:nvSpPr>
          <p:spPr bwMode="black">
            <a:xfrm>
              <a:off x="3598" y="2475"/>
              <a:ext cx="105" cy="111"/>
            </a:xfrm>
            <a:custGeom>
              <a:avLst/>
              <a:gdLst>
                <a:gd name="T0" fmla="*/ 73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3 w 89"/>
                <a:gd name="T17" fmla="*/ 94 h 94"/>
                <a:gd name="T18" fmla="*/ 0 w 89"/>
                <a:gd name="T19" fmla="*/ 47 h 94"/>
                <a:gd name="T20" fmla="*/ 45 w 89"/>
                <a:gd name="T21" fmla="*/ 0 h 94"/>
                <a:gd name="T22" fmla="*/ 73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3"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3" y="94"/>
                  </a:cubicBezTo>
                  <a:cubicBezTo>
                    <a:pt x="19" y="94"/>
                    <a:pt x="0" y="73"/>
                    <a:pt x="0" y="47"/>
                  </a:cubicBezTo>
                  <a:cubicBezTo>
                    <a:pt x="0" y="21"/>
                    <a:pt x="20" y="0"/>
                    <a:pt x="45" y="0"/>
                  </a:cubicBezTo>
                  <a:cubicBezTo>
                    <a:pt x="58" y="0"/>
                    <a:pt x="67" y="4"/>
                    <a:pt x="73"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4">
              <a:extLst>
                <a:ext uri="{FF2B5EF4-FFF2-40B4-BE49-F238E27FC236}">
                  <a16:creationId xmlns:a16="http://schemas.microsoft.com/office/drawing/2014/main" id="{7C65AD10-7221-4200-A55A-4B1CF8AE87F3}"/>
                </a:ext>
              </a:extLst>
            </p:cNvPr>
            <p:cNvSpPr>
              <a:spLocks/>
            </p:cNvSpPr>
            <p:nvPr userDrawn="1"/>
          </p:nvSpPr>
          <p:spPr bwMode="black">
            <a:xfrm>
              <a:off x="3737" y="2475"/>
              <a:ext cx="97" cy="110"/>
            </a:xfrm>
            <a:custGeom>
              <a:avLst/>
              <a:gdLst>
                <a:gd name="T0" fmla="*/ 0 w 82"/>
                <a:gd name="T1" fmla="*/ 2 h 93"/>
                <a:gd name="T2" fmla="*/ 15 w 82"/>
                <a:gd name="T3" fmla="*/ 2 h 93"/>
                <a:gd name="T4" fmla="*/ 15 w 82"/>
                <a:gd name="T5" fmla="*/ 13 h 93"/>
                <a:gd name="T6" fmla="*/ 16 w 82"/>
                <a:gd name="T7" fmla="*/ 14 h 93"/>
                <a:gd name="T8" fmla="*/ 49 w 82"/>
                <a:gd name="T9" fmla="*/ 0 h 93"/>
                <a:gd name="T10" fmla="*/ 82 w 82"/>
                <a:gd name="T11" fmla="*/ 38 h 93"/>
                <a:gd name="T12" fmla="*/ 82 w 82"/>
                <a:gd name="T13" fmla="*/ 93 h 93"/>
                <a:gd name="T14" fmla="*/ 68 w 82"/>
                <a:gd name="T15" fmla="*/ 93 h 93"/>
                <a:gd name="T16" fmla="*/ 68 w 82"/>
                <a:gd name="T17" fmla="*/ 38 h 93"/>
                <a:gd name="T18" fmla="*/ 46 w 82"/>
                <a:gd name="T19" fmla="*/ 12 h 93"/>
                <a:gd name="T20" fmla="*/ 15 w 82"/>
                <a:gd name="T21" fmla="*/ 30 h 93"/>
                <a:gd name="T22" fmla="*/ 15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5" y="2"/>
                    <a:pt x="15" y="2"/>
                    <a:pt x="15" y="2"/>
                  </a:cubicBezTo>
                  <a:cubicBezTo>
                    <a:pt x="15" y="13"/>
                    <a:pt x="15" y="13"/>
                    <a:pt x="15" y="13"/>
                  </a:cubicBezTo>
                  <a:cubicBezTo>
                    <a:pt x="16" y="14"/>
                    <a:pt x="16" y="14"/>
                    <a:pt x="16" y="14"/>
                  </a:cubicBezTo>
                  <a:cubicBezTo>
                    <a:pt x="23" y="6"/>
                    <a:pt x="35" y="0"/>
                    <a:pt x="49" y="0"/>
                  </a:cubicBezTo>
                  <a:cubicBezTo>
                    <a:pt x="67" y="0"/>
                    <a:pt x="82" y="13"/>
                    <a:pt x="82" y="38"/>
                  </a:cubicBezTo>
                  <a:cubicBezTo>
                    <a:pt x="82" y="93"/>
                    <a:pt x="82" y="93"/>
                    <a:pt x="82" y="93"/>
                  </a:cubicBezTo>
                  <a:cubicBezTo>
                    <a:pt x="68" y="93"/>
                    <a:pt x="68" y="93"/>
                    <a:pt x="68" y="93"/>
                  </a:cubicBezTo>
                  <a:cubicBezTo>
                    <a:pt x="68" y="38"/>
                    <a:pt x="68" y="38"/>
                    <a:pt x="68" y="38"/>
                  </a:cubicBezTo>
                  <a:cubicBezTo>
                    <a:pt x="68" y="20"/>
                    <a:pt x="58" y="12"/>
                    <a:pt x="46" y="12"/>
                  </a:cubicBezTo>
                  <a:cubicBezTo>
                    <a:pt x="33" y="12"/>
                    <a:pt x="21" y="18"/>
                    <a:pt x="15" y="30"/>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5">
              <a:extLst>
                <a:ext uri="{FF2B5EF4-FFF2-40B4-BE49-F238E27FC236}">
                  <a16:creationId xmlns:a16="http://schemas.microsoft.com/office/drawing/2014/main" id="{7B53D3B0-99EA-4416-94E1-6D2EED70D937}"/>
                </a:ext>
              </a:extLst>
            </p:cNvPr>
            <p:cNvSpPr>
              <a:spLocks/>
            </p:cNvSpPr>
            <p:nvPr userDrawn="1"/>
          </p:nvSpPr>
          <p:spPr bwMode="black">
            <a:xfrm>
              <a:off x="3859" y="2475"/>
              <a:ext cx="82"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3"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id="{5C3787E3-790C-4CB6-A9E0-AE864D928D93}"/>
                </a:ext>
              </a:extLst>
            </p:cNvPr>
            <p:cNvSpPr>
              <a:spLocks noEditPoints="1"/>
            </p:cNvSpPr>
            <p:nvPr userDrawn="1"/>
          </p:nvSpPr>
          <p:spPr bwMode="black">
            <a:xfrm>
              <a:off x="3951" y="2475"/>
              <a:ext cx="99" cy="111"/>
            </a:xfrm>
            <a:custGeom>
              <a:avLst/>
              <a:gdLst>
                <a:gd name="T0" fmla="*/ 84 w 84"/>
                <a:gd name="T1" fmla="*/ 38 h 94"/>
                <a:gd name="T2" fmla="*/ 84 w 84"/>
                <a:gd name="T3" fmla="*/ 49 h 94"/>
                <a:gd name="T4" fmla="*/ 14 w 84"/>
                <a:gd name="T5" fmla="*/ 49 h 94"/>
                <a:gd name="T6" fmla="*/ 49 w 84"/>
                <a:gd name="T7" fmla="*/ 82 h 94"/>
                <a:gd name="T8" fmla="*/ 76 w 84"/>
                <a:gd name="T9" fmla="*/ 76 h 94"/>
                <a:gd name="T10" fmla="*/ 79 w 84"/>
                <a:gd name="T11" fmla="*/ 88 h 94"/>
                <a:gd name="T12" fmla="*/ 49 w 84"/>
                <a:gd name="T13" fmla="*/ 94 h 94"/>
                <a:gd name="T14" fmla="*/ 0 w 84"/>
                <a:gd name="T15" fmla="*/ 47 h 94"/>
                <a:gd name="T16" fmla="*/ 44 w 84"/>
                <a:gd name="T17" fmla="*/ 0 h 94"/>
                <a:gd name="T18" fmla="*/ 84 w 84"/>
                <a:gd name="T19" fmla="*/ 38 h 94"/>
                <a:gd name="T20" fmla="*/ 16 w 84"/>
                <a:gd name="T21" fmla="*/ 36 h 94"/>
                <a:gd name="T22" fmla="*/ 69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4" y="49"/>
                    <a:pt x="14" y="49"/>
                    <a:pt x="14" y="49"/>
                  </a:cubicBezTo>
                  <a:cubicBezTo>
                    <a:pt x="16" y="70"/>
                    <a:pt x="27" y="81"/>
                    <a:pt x="49" y="82"/>
                  </a:cubicBezTo>
                  <a:cubicBezTo>
                    <a:pt x="59" y="82"/>
                    <a:pt x="68" y="80"/>
                    <a:pt x="76" y="76"/>
                  </a:cubicBezTo>
                  <a:cubicBezTo>
                    <a:pt x="79" y="88"/>
                    <a:pt x="79" y="88"/>
                    <a:pt x="79" y="88"/>
                  </a:cubicBezTo>
                  <a:cubicBezTo>
                    <a:pt x="70" y="92"/>
                    <a:pt x="59" y="94"/>
                    <a:pt x="49" y="94"/>
                  </a:cubicBezTo>
                  <a:cubicBezTo>
                    <a:pt x="21" y="94"/>
                    <a:pt x="0" y="77"/>
                    <a:pt x="0" y="47"/>
                  </a:cubicBezTo>
                  <a:cubicBezTo>
                    <a:pt x="0" y="22"/>
                    <a:pt x="18" y="0"/>
                    <a:pt x="44" y="0"/>
                  </a:cubicBezTo>
                  <a:cubicBezTo>
                    <a:pt x="67" y="0"/>
                    <a:pt x="81" y="13"/>
                    <a:pt x="84" y="38"/>
                  </a:cubicBezTo>
                  <a:close/>
                  <a:moveTo>
                    <a:pt x="16" y="36"/>
                  </a:moveTo>
                  <a:cubicBezTo>
                    <a:pt x="69" y="36"/>
                    <a:pt x="69" y="36"/>
                    <a:pt x="69" y="36"/>
                  </a:cubicBezTo>
                  <a:cubicBezTo>
                    <a:pt x="68"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7">
              <a:extLst>
                <a:ext uri="{FF2B5EF4-FFF2-40B4-BE49-F238E27FC236}">
                  <a16:creationId xmlns:a16="http://schemas.microsoft.com/office/drawing/2014/main" id="{FA5454E1-E1DD-404E-9C52-676069869562}"/>
                </a:ext>
              </a:extLst>
            </p:cNvPr>
            <p:cNvSpPr>
              <a:spLocks noEditPoints="1"/>
            </p:cNvSpPr>
            <p:nvPr userDrawn="1"/>
          </p:nvSpPr>
          <p:spPr bwMode="black">
            <a:xfrm>
              <a:off x="4130" y="2428"/>
              <a:ext cx="104" cy="158"/>
            </a:xfrm>
            <a:custGeom>
              <a:avLst/>
              <a:gdLst>
                <a:gd name="T0" fmla="*/ 73 w 88"/>
                <a:gd name="T1" fmla="*/ 47 h 134"/>
                <a:gd name="T2" fmla="*/ 73 w 88"/>
                <a:gd name="T3" fmla="*/ 0 h 134"/>
                <a:gd name="T4" fmla="*/ 88 w 88"/>
                <a:gd name="T5" fmla="*/ 0 h 134"/>
                <a:gd name="T6" fmla="*/ 88 w 88"/>
                <a:gd name="T7" fmla="*/ 133 h 134"/>
                <a:gd name="T8" fmla="*/ 73 w 88"/>
                <a:gd name="T9" fmla="*/ 133 h 134"/>
                <a:gd name="T10" fmla="*/ 73 w 88"/>
                <a:gd name="T11" fmla="*/ 124 h 134"/>
                <a:gd name="T12" fmla="*/ 72 w 88"/>
                <a:gd name="T13" fmla="*/ 124 h 134"/>
                <a:gd name="T14" fmla="*/ 44 w 88"/>
                <a:gd name="T15" fmla="*/ 134 h 134"/>
                <a:gd name="T16" fmla="*/ 0 w 88"/>
                <a:gd name="T17" fmla="*/ 87 h 134"/>
                <a:gd name="T18" fmla="*/ 46 w 88"/>
                <a:gd name="T19" fmla="*/ 40 h 134"/>
                <a:gd name="T20" fmla="*/ 73 w 88"/>
                <a:gd name="T21" fmla="*/ 47 h 134"/>
                <a:gd name="T22" fmla="*/ 73 w 88"/>
                <a:gd name="T23" fmla="*/ 109 h 134"/>
                <a:gd name="T24" fmla="*/ 73 w 88"/>
                <a:gd name="T25" fmla="*/ 59 h 134"/>
                <a:gd name="T26" fmla="*/ 48 w 88"/>
                <a:gd name="T27" fmla="*/ 52 h 134"/>
                <a:gd name="T28" fmla="*/ 15 w 88"/>
                <a:gd name="T29" fmla="*/ 87 h 134"/>
                <a:gd name="T30" fmla="*/ 48 w 88"/>
                <a:gd name="T31" fmla="*/ 122 h 134"/>
                <a:gd name="T32" fmla="*/ 73 w 88"/>
                <a:gd name="T33" fmla="*/ 10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34">
                  <a:moveTo>
                    <a:pt x="73" y="47"/>
                  </a:moveTo>
                  <a:cubicBezTo>
                    <a:pt x="73" y="0"/>
                    <a:pt x="73" y="0"/>
                    <a:pt x="73" y="0"/>
                  </a:cubicBezTo>
                  <a:cubicBezTo>
                    <a:pt x="88" y="0"/>
                    <a:pt x="88" y="0"/>
                    <a:pt x="88" y="0"/>
                  </a:cubicBezTo>
                  <a:cubicBezTo>
                    <a:pt x="88" y="133"/>
                    <a:pt x="88" y="133"/>
                    <a:pt x="88" y="133"/>
                  </a:cubicBezTo>
                  <a:cubicBezTo>
                    <a:pt x="73" y="133"/>
                    <a:pt x="73" y="133"/>
                    <a:pt x="73" y="133"/>
                  </a:cubicBezTo>
                  <a:cubicBezTo>
                    <a:pt x="73" y="124"/>
                    <a:pt x="73" y="124"/>
                    <a:pt x="73" y="124"/>
                  </a:cubicBezTo>
                  <a:cubicBezTo>
                    <a:pt x="72" y="124"/>
                    <a:pt x="72" y="124"/>
                    <a:pt x="72" y="124"/>
                  </a:cubicBezTo>
                  <a:cubicBezTo>
                    <a:pt x="66" y="130"/>
                    <a:pt x="56" y="134"/>
                    <a:pt x="44" y="134"/>
                  </a:cubicBezTo>
                  <a:cubicBezTo>
                    <a:pt x="20" y="134"/>
                    <a:pt x="0" y="113"/>
                    <a:pt x="0" y="87"/>
                  </a:cubicBezTo>
                  <a:cubicBezTo>
                    <a:pt x="0" y="61"/>
                    <a:pt x="20" y="40"/>
                    <a:pt x="46" y="40"/>
                  </a:cubicBezTo>
                  <a:cubicBezTo>
                    <a:pt x="58" y="40"/>
                    <a:pt x="66" y="42"/>
                    <a:pt x="73" y="47"/>
                  </a:cubicBezTo>
                  <a:close/>
                  <a:moveTo>
                    <a:pt x="73" y="109"/>
                  </a:moveTo>
                  <a:cubicBezTo>
                    <a:pt x="73" y="59"/>
                    <a:pt x="73" y="59"/>
                    <a:pt x="73" y="59"/>
                  </a:cubicBezTo>
                  <a:cubicBezTo>
                    <a:pt x="67" y="55"/>
                    <a:pt x="58" y="52"/>
                    <a:pt x="48" y="52"/>
                  </a:cubicBezTo>
                  <a:cubicBezTo>
                    <a:pt x="30" y="52"/>
                    <a:pt x="15" y="68"/>
                    <a:pt x="15" y="87"/>
                  </a:cubicBezTo>
                  <a:cubicBezTo>
                    <a:pt x="15" y="106"/>
                    <a:pt x="30" y="122"/>
                    <a:pt x="48" y="122"/>
                  </a:cubicBezTo>
                  <a:cubicBezTo>
                    <a:pt x="58" y="122"/>
                    <a:pt x="67" y="118"/>
                    <a:pt x="7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8">
              <a:extLst>
                <a:ext uri="{FF2B5EF4-FFF2-40B4-BE49-F238E27FC236}">
                  <a16:creationId xmlns:a16="http://schemas.microsoft.com/office/drawing/2014/main" id="{946B56F5-EF76-4943-A269-58238E9BA76C}"/>
                </a:ext>
              </a:extLst>
            </p:cNvPr>
            <p:cNvSpPr>
              <a:spLocks noEditPoints="1"/>
            </p:cNvSpPr>
            <p:nvPr userDrawn="1"/>
          </p:nvSpPr>
          <p:spPr bwMode="black">
            <a:xfrm>
              <a:off x="4260" y="2475"/>
              <a:ext cx="111" cy="111"/>
            </a:xfrm>
            <a:custGeom>
              <a:avLst/>
              <a:gdLst>
                <a:gd name="T0" fmla="*/ 48 w 95"/>
                <a:gd name="T1" fmla="*/ 0 h 94"/>
                <a:gd name="T2" fmla="*/ 95 w 95"/>
                <a:gd name="T3" fmla="*/ 47 h 94"/>
                <a:gd name="T4" fmla="*/ 48 w 95"/>
                <a:gd name="T5" fmla="*/ 94 h 94"/>
                <a:gd name="T6" fmla="*/ 0 w 95"/>
                <a:gd name="T7" fmla="*/ 47 h 94"/>
                <a:gd name="T8" fmla="*/ 48 w 95"/>
                <a:gd name="T9" fmla="*/ 0 h 94"/>
                <a:gd name="T10" fmla="*/ 48 w 95"/>
                <a:gd name="T11" fmla="*/ 82 h 94"/>
                <a:gd name="T12" fmla="*/ 81 w 95"/>
                <a:gd name="T13" fmla="*/ 47 h 94"/>
                <a:gd name="T14" fmla="*/ 48 w 95"/>
                <a:gd name="T15" fmla="*/ 12 h 94"/>
                <a:gd name="T16" fmla="*/ 15 w 95"/>
                <a:gd name="T17" fmla="*/ 47 h 94"/>
                <a:gd name="T18" fmla="*/ 48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8" y="0"/>
                  </a:moveTo>
                  <a:cubicBezTo>
                    <a:pt x="74" y="0"/>
                    <a:pt x="95" y="21"/>
                    <a:pt x="95" y="47"/>
                  </a:cubicBezTo>
                  <a:cubicBezTo>
                    <a:pt x="95" y="73"/>
                    <a:pt x="74" y="94"/>
                    <a:pt x="48" y="94"/>
                  </a:cubicBezTo>
                  <a:cubicBezTo>
                    <a:pt x="21" y="94"/>
                    <a:pt x="0" y="73"/>
                    <a:pt x="0" y="47"/>
                  </a:cubicBezTo>
                  <a:cubicBezTo>
                    <a:pt x="0" y="21"/>
                    <a:pt x="21" y="0"/>
                    <a:pt x="48" y="0"/>
                  </a:cubicBezTo>
                  <a:close/>
                  <a:moveTo>
                    <a:pt x="48" y="82"/>
                  </a:moveTo>
                  <a:cubicBezTo>
                    <a:pt x="66" y="82"/>
                    <a:pt x="81" y="66"/>
                    <a:pt x="81" y="47"/>
                  </a:cubicBezTo>
                  <a:cubicBezTo>
                    <a:pt x="81" y="28"/>
                    <a:pt x="66" y="12"/>
                    <a:pt x="48" y="12"/>
                  </a:cubicBezTo>
                  <a:cubicBezTo>
                    <a:pt x="29" y="12"/>
                    <a:pt x="15" y="28"/>
                    <a:pt x="15" y="47"/>
                  </a:cubicBezTo>
                  <a:cubicBezTo>
                    <a:pt x="15" y="66"/>
                    <a:pt x="29" y="82"/>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9">
              <a:extLst>
                <a:ext uri="{FF2B5EF4-FFF2-40B4-BE49-F238E27FC236}">
                  <a16:creationId xmlns:a16="http://schemas.microsoft.com/office/drawing/2014/main" id="{F6E3CA02-5302-402F-8F80-70B61F34C780}"/>
                </a:ext>
              </a:extLst>
            </p:cNvPr>
            <p:cNvSpPr>
              <a:spLocks/>
            </p:cNvSpPr>
            <p:nvPr userDrawn="1"/>
          </p:nvSpPr>
          <p:spPr bwMode="black">
            <a:xfrm>
              <a:off x="4398" y="2475"/>
              <a:ext cx="97" cy="110"/>
            </a:xfrm>
            <a:custGeom>
              <a:avLst/>
              <a:gdLst>
                <a:gd name="T0" fmla="*/ 0 w 82"/>
                <a:gd name="T1" fmla="*/ 2 h 93"/>
                <a:gd name="T2" fmla="*/ 14 w 82"/>
                <a:gd name="T3" fmla="*/ 2 h 93"/>
                <a:gd name="T4" fmla="*/ 14 w 82"/>
                <a:gd name="T5" fmla="*/ 13 h 93"/>
                <a:gd name="T6" fmla="*/ 15 w 82"/>
                <a:gd name="T7" fmla="*/ 14 h 93"/>
                <a:gd name="T8" fmla="*/ 49 w 82"/>
                <a:gd name="T9" fmla="*/ 0 h 93"/>
                <a:gd name="T10" fmla="*/ 82 w 82"/>
                <a:gd name="T11" fmla="*/ 38 h 93"/>
                <a:gd name="T12" fmla="*/ 82 w 82"/>
                <a:gd name="T13" fmla="*/ 93 h 93"/>
                <a:gd name="T14" fmla="*/ 67 w 82"/>
                <a:gd name="T15" fmla="*/ 93 h 93"/>
                <a:gd name="T16" fmla="*/ 67 w 82"/>
                <a:gd name="T17" fmla="*/ 38 h 93"/>
                <a:gd name="T18" fmla="*/ 45 w 82"/>
                <a:gd name="T19" fmla="*/ 12 h 93"/>
                <a:gd name="T20" fmla="*/ 14 w 82"/>
                <a:gd name="T21" fmla="*/ 30 h 93"/>
                <a:gd name="T22" fmla="*/ 14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4" y="2"/>
                    <a:pt x="14" y="2"/>
                    <a:pt x="14" y="2"/>
                  </a:cubicBezTo>
                  <a:cubicBezTo>
                    <a:pt x="14" y="13"/>
                    <a:pt x="14" y="13"/>
                    <a:pt x="14" y="13"/>
                  </a:cubicBezTo>
                  <a:cubicBezTo>
                    <a:pt x="15" y="14"/>
                    <a:pt x="15" y="14"/>
                    <a:pt x="15" y="14"/>
                  </a:cubicBezTo>
                  <a:cubicBezTo>
                    <a:pt x="22" y="6"/>
                    <a:pt x="34" y="0"/>
                    <a:pt x="49" y="0"/>
                  </a:cubicBezTo>
                  <a:cubicBezTo>
                    <a:pt x="67" y="0"/>
                    <a:pt x="82" y="13"/>
                    <a:pt x="82" y="38"/>
                  </a:cubicBezTo>
                  <a:cubicBezTo>
                    <a:pt x="82" y="93"/>
                    <a:pt x="82" y="93"/>
                    <a:pt x="82" y="93"/>
                  </a:cubicBezTo>
                  <a:cubicBezTo>
                    <a:pt x="67" y="93"/>
                    <a:pt x="67" y="93"/>
                    <a:pt x="67" y="93"/>
                  </a:cubicBezTo>
                  <a:cubicBezTo>
                    <a:pt x="67" y="38"/>
                    <a:pt x="67" y="38"/>
                    <a:pt x="67" y="38"/>
                  </a:cubicBezTo>
                  <a:cubicBezTo>
                    <a:pt x="67" y="20"/>
                    <a:pt x="57" y="12"/>
                    <a:pt x="45" y="12"/>
                  </a:cubicBezTo>
                  <a:cubicBezTo>
                    <a:pt x="33" y="12"/>
                    <a:pt x="21" y="18"/>
                    <a:pt x="14" y="30"/>
                  </a:cubicBezTo>
                  <a:cubicBezTo>
                    <a:pt x="14" y="93"/>
                    <a:pt x="14" y="93"/>
                    <a:pt x="14"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0">
              <a:extLst>
                <a:ext uri="{FF2B5EF4-FFF2-40B4-BE49-F238E27FC236}">
                  <a16:creationId xmlns:a16="http://schemas.microsoft.com/office/drawing/2014/main" id="{0D305EFF-9A68-438C-B4D8-CFF46B7BA58D}"/>
                </a:ext>
              </a:extLst>
            </p:cNvPr>
            <p:cNvSpPr>
              <a:spLocks noEditPoints="1"/>
            </p:cNvSpPr>
            <p:nvPr userDrawn="1"/>
          </p:nvSpPr>
          <p:spPr bwMode="black">
            <a:xfrm>
              <a:off x="4520" y="2475"/>
              <a:ext cx="98" cy="111"/>
            </a:xfrm>
            <a:custGeom>
              <a:avLst/>
              <a:gdLst>
                <a:gd name="T0" fmla="*/ 84 w 84"/>
                <a:gd name="T1" fmla="*/ 38 h 94"/>
                <a:gd name="T2" fmla="*/ 84 w 84"/>
                <a:gd name="T3" fmla="*/ 49 h 94"/>
                <a:gd name="T4" fmla="*/ 15 w 84"/>
                <a:gd name="T5" fmla="*/ 49 h 94"/>
                <a:gd name="T6" fmla="*/ 50 w 84"/>
                <a:gd name="T7" fmla="*/ 82 h 94"/>
                <a:gd name="T8" fmla="*/ 76 w 84"/>
                <a:gd name="T9" fmla="*/ 76 h 94"/>
                <a:gd name="T10" fmla="*/ 80 w 84"/>
                <a:gd name="T11" fmla="*/ 88 h 94"/>
                <a:gd name="T12" fmla="*/ 50 w 84"/>
                <a:gd name="T13" fmla="*/ 94 h 94"/>
                <a:gd name="T14" fmla="*/ 0 w 84"/>
                <a:gd name="T15" fmla="*/ 47 h 94"/>
                <a:gd name="T16" fmla="*/ 44 w 84"/>
                <a:gd name="T17" fmla="*/ 0 h 94"/>
                <a:gd name="T18" fmla="*/ 84 w 84"/>
                <a:gd name="T19" fmla="*/ 38 h 94"/>
                <a:gd name="T20" fmla="*/ 16 w 84"/>
                <a:gd name="T21" fmla="*/ 36 h 94"/>
                <a:gd name="T22" fmla="*/ 70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5" y="49"/>
                    <a:pt x="15" y="49"/>
                    <a:pt x="15" y="49"/>
                  </a:cubicBezTo>
                  <a:cubicBezTo>
                    <a:pt x="16" y="70"/>
                    <a:pt x="28" y="81"/>
                    <a:pt x="50" y="82"/>
                  </a:cubicBezTo>
                  <a:cubicBezTo>
                    <a:pt x="59" y="82"/>
                    <a:pt x="69" y="80"/>
                    <a:pt x="76" y="76"/>
                  </a:cubicBezTo>
                  <a:cubicBezTo>
                    <a:pt x="80" y="88"/>
                    <a:pt x="80" y="88"/>
                    <a:pt x="80" y="88"/>
                  </a:cubicBezTo>
                  <a:cubicBezTo>
                    <a:pt x="70" y="92"/>
                    <a:pt x="60" y="94"/>
                    <a:pt x="50" y="94"/>
                  </a:cubicBezTo>
                  <a:cubicBezTo>
                    <a:pt x="21" y="94"/>
                    <a:pt x="0" y="77"/>
                    <a:pt x="0" y="47"/>
                  </a:cubicBezTo>
                  <a:cubicBezTo>
                    <a:pt x="0" y="22"/>
                    <a:pt x="18" y="0"/>
                    <a:pt x="44" y="0"/>
                  </a:cubicBezTo>
                  <a:cubicBezTo>
                    <a:pt x="68" y="0"/>
                    <a:pt x="82" y="13"/>
                    <a:pt x="84" y="38"/>
                  </a:cubicBezTo>
                  <a:close/>
                  <a:moveTo>
                    <a:pt x="16" y="36"/>
                  </a:moveTo>
                  <a:cubicBezTo>
                    <a:pt x="70" y="36"/>
                    <a:pt x="70" y="36"/>
                    <a:pt x="70" y="36"/>
                  </a:cubicBezTo>
                  <a:cubicBezTo>
                    <a:pt x="69"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1">
              <a:extLst>
                <a:ext uri="{FF2B5EF4-FFF2-40B4-BE49-F238E27FC236}">
                  <a16:creationId xmlns:a16="http://schemas.microsoft.com/office/drawing/2014/main" id="{04DDCD68-4B2E-4136-B584-175A23CCE041}"/>
                </a:ext>
              </a:extLst>
            </p:cNvPr>
            <p:cNvSpPr>
              <a:spLocks/>
            </p:cNvSpPr>
            <p:nvPr userDrawn="1"/>
          </p:nvSpPr>
          <p:spPr bwMode="black">
            <a:xfrm>
              <a:off x="4708" y="2475"/>
              <a:ext cx="54" cy="110"/>
            </a:xfrm>
            <a:custGeom>
              <a:avLst/>
              <a:gdLst>
                <a:gd name="T0" fmla="*/ 0 w 46"/>
                <a:gd name="T1" fmla="*/ 2 h 93"/>
                <a:gd name="T2" fmla="*/ 15 w 46"/>
                <a:gd name="T3" fmla="*/ 2 h 93"/>
                <a:gd name="T4" fmla="*/ 15 w 46"/>
                <a:gd name="T5" fmla="*/ 12 h 93"/>
                <a:gd name="T6" fmla="*/ 16 w 46"/>
                <a:gd name="T7" fmla="*/ 12 h 93"/>
                <a:gd name="T8" fmla="*/ 44 w 46"/>
                <a:gd name="T9" fmla="*/ 0 h 93"/>
                <a:gd name="T10" fmla="*/ 46 w 46"/>
                <a:gd name="T11" fmla="*/ 0 h 93"/>
                <a:gd name="T12" fmla="*/ 46 w 46"/>
                <a:gd name="T13" fmla="*/ 12 h 93"/>
                <a:gd name="T14" fmla="*/ 42 w 46"/>
                <a:gd name="T15" fmla="*/ 12 h 93"/>
                <a:gd name="T16" fmla="*/ 15 w 46"/>
                <a:gd name="T17" fmla="*/ 26 h 93"/>
                <a:gd name="T18" fmla="*/ 15 w 46"/>
                <a:gd name="T19" fmla="*/ 93 h 93"/>
                <a:gd name="T20" fmla="*/ 0 w 46"/>
                <a:gd name="T21" fmla="*/ 93 h 93"/>
                <a:gd name="T22" fmla="*/ 0 w 46"/>
                <a:gd name="T23"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3">
                  <a:moveTo>
                    <a:pt x="0" y="2"/>
                  </a:moveTo>
                  <a:cubicBezTo>
                    <a:pt x="15" y="2"/>
                    <a:pt x="15" y="2"/>
                    <a:pt x="15" y="2"/>
                  </a:cubicBezTo>
                  <a:cubicBezTo>
                    <a:pt x="15" y="12"/>
                    <a:pt x="15" y="12"/>
                    <a:pt x="15" y="12"/>
                  </a:cubicBezTo>
                  <a:cubicBezTo>
                    <a:pt x="16" y="12"/>
                    <a:pt x="16" y="12"/>
                    <a:pt x="16" y="12"/>
                  </a:cubicBezTo>
                  <a:cubicBezTo>
                    <a:pt x="22" y="5"/>
                    <a:pt x="32" y="0"/>
                    <a:pt x="44" y="0"/>
                  </a:cubicBezTo>
                  <a:cubicBezTo>
                    <a:pt x="46" y="0"/>
                    <a:pt x="46" y="0"/>
                    <a:pt x="46" y="0"/>
                  </a:cubicBezTo>
                  <a:cubicBezTo>
                    <a:pt x="46" y="12"/>
                    <a:pt x="46" y="12"/>
                    <a:pt x="46" y="12"/>
                  </a:cubicBezTo>
                  <a:cubicBezTo>
                    <a:pt x="42" y="12"/>
                    <a:pt x="42" y="12"/>
                    <a:pt x="42" y="12"/>
                  </a:cubicBezTo>
                  <a:cubicBezTo>
                    <a:pt x="31" y="12"/>
                    <a:pt x="21" y="18"/>
                    <a:pt x="15" y="26"/>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2">
              <a:extLst>
                <a:ext uri="{FF2B5EF4-FFF2-40B4-BE49-F238E27FC236}">
                  <a16:creationId xmlns:a16="http://schemas.microsoft.com/office/drawing/2014/main" id="{6E1F5C9A-ED4E-4763-A89C-C537E05E1E72}"/>
                </a:ext>
              </a:extLst>
            </p:cNvPr>
            <p:cNvSpPr>
              <a:spLocks noEditPoints="1"/>
            </p:cNvSpPr>
            <p:nvPr userDrawn="1"/>
          </p:nvSpPr>
          <p:spPr bwMode="black">
            <a:xfrm>
              <a:off x="4783" y="2432"/>
              <a:ext cx="20" cy="153"/>
            </a:xfrm>
            <a:custGeom>
              <a:avLst/>
              <a:gdLst>
                <a:gd name="T0" fmla="*/ 8 w 17"/>
                <a:gd name="T1" fmla="*/ 0 h 129"/>
                <a:gd name="T2" fmla="*/ 17 w 17"/>
                <a:gd name="T3" fmla="*/ 9 h 129"/>
                <a:gd name="T4" fmla="*/ 8 w 17"/>
                <a:gd name="T5" fmla="*/ 17 h 129"/>
                <a:gd name="T6" fmla="*/ 0 w 17"/>
                <a:gd name="T7" fmla="*/ 9 h 129"/>
                <a:gd name="T8" fmla="*/ 8 w 17"/>
                <a:gd name="T9" fmla="*/ 0 h 129"/>
                <a:gd name="T10" fmla="*/ 1 w 17"/>
                <a:gd name="T11" fmla="*/ 38 h 129"/>
                <a:gd name="T12" fmla="*/ 16 w 17"/>
                <a:gd name="T13" fmla="*/ 38 h 129"/>
                <a:gd name="T14" fmla="*/ 16 w 17"/>
                <a:gd name="T15" fmla="*/ 129 h 129"/>
                <a:gd name="T16" fmla="*/ 1 w 17"/>
                <a:gd name="T17" fmla="*/ 129 h 129"/>
                <a:gd name="T18" fmla="*/ 1 w 17"/>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9">
                  <a:moveTo>
                    <a:pt x="8" y="0"/>
                  </a:moveTo>
                  <a:cubicBezTo>
                    <a:pt x="13" y="0"/>
                    <a:pt x="17" y="4"/>
                    <a:pt x="17" y="9"/>
                  </a:cubicBezTo>
                  <a:cubicBezTo>
                    <a:pt x="17" y="13"/>
                    <a:pt x="13" y="17"/>
                    <a:pt x="8" y="17"/>
                  </a:cubicBezTo>
                  <a:cubicBezTo>
                    <a:pt x="4" y="17"/>
                    <a:pt x="0" y="13"/>
                    <a:pt x="0" y="9"/>
                  </a:cubicBezTo>
                  <a:cubicBezTo>
                    <a:pt x="0" y="4"/>
                    <a:pt x="4" y="0"/>
                    <a:pt x="8" y="0"/>
                  </a:cubicBezTo>
                  <a:close/>
                  <a:moveTo>
                    <a:pt x="1" y="38"/>
                  </a:moveTo>
                  <a:cubicBezTo>
                    <a:pt x="16" y="38"/>
                    <a:pt x="16" y="38"/>
                    <a:pt x="16" y="38"/>
                  </a:cubicBezTo>
                  <a:cubicBezTo>
                    <a:pt x="16" y="129"/>
                    <a:pt x="16" y="129"/>
                    <a:pt x="16" y="129"/>
                  </a:cubicBezTo>
                  <a:cubicBezTo>
                    <a:pt x="1" y="129"/>
                    <a:pt x="1" y="129"/>
                    <a:pt x="1" y="129"/>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3">
              <a:extLst>
                <a:ext uri="{FF2B5EF4-FFF2-40B4-BE49-F238E27FC236}">
                  <a16:creationId xmlns:a16="http://schemas.microsoft.com/office/drawing/2014/main" id="{E15E98AD-078F-41FD-AE39-3672545EE1E8}"/>
                </a:ext>
              </a:extLst>
            </p:cNvPr>
            <p:cNvSpPr>
              <a:spLocks noEditPoints="1"/>
            </p:cNvSpPr>
            <p:nvPr userDrawn="1"/>
          </p:nvSpPr>
          <p:spPr bwMode="black">
            <a:xfrm>
              <a:off x="4829" y="2475"/>
              <a:ext cx="104" cy="160"/>
            </a:xfrm>
            <a:custGeom>
              <a:avLst/>
              <a:gdLst>
                <a:gd name="T0" fmla="*/ 73 w 88"/>
                <a:gd name="T1" fmla="*/ 84 h 136"/>
                <a:gd name="T2" fmla="*/ 72 w 88"/>
                <a:gd name="T3" fmla="*/ 84 h 136"/>
                <a:gd name="T4" fmla="*/ 44 w 88"/>
                <a:gd name="T5" fmla="*/ 94 h 136"/>
                <a:gd name="T6" fmla="*/ 0 w 88"/>
                <a:gd name="T7" fmla="*/ 47 h 136"/>
                <a:gd name="T8" fmla="*/ 46 w 88"/>
                <a:gd name="T9" fmla="*/ 0 h 136"/>
                <a:gd name="T10" fmla="*/ 73 w 88"/>
                <a:gd name="T11" fmla="*/ 6 h 136"/>
                <a:gd name="T12" fmla="*/ 73 w 88"/>
                <a:gd name="T13" fmla="*/ 2 h 136"/>
                <a:gd name="T14" fmla="*/ 88 w 88"/>
                <a:gd name="T15" fmla="*/ 2 h 136"/>
                <a:gd name="T16" fmla="*/ 88 w 88"/>
                <a:gd name="T17" fmla="*/ 98 h 136"/>
                <a:gd name="T18" fmla="*/ 46 w 88"/>
                <a:gd name="T19" fmla="*/ 136 h 136"/>
                <a:gd name="T20" fmla="*/ 15 w 88"/>
                <a:gd name="T21" fmla="*/ 131 h 136"/>
                <a:gd name="T22" fmla="*/ 19 w 88"/>
                <a:gd name="T23" fmla="*/ 119 h 136"/>
                <a:gd name="T24" fmla="*/ 46 w 88"/>
                <a:gd name="T25" fmla="*/ 124 h 136"/>
                <a:gd name="T26" fmla="*/ 73 w 88"/>
                <a:gd name="T27" fmla="*/ 98 h 136"/>
                <a:gd name="T28" fmla="*/ 73 w 88"/>
                <a:gd name="T29" fmla="*/ 84 h 136"/>
                <a:gd name="T30" fmla="*/ 73 w 88"/>
                <a:gd name="T31" fmla="*/ 69 h 136"/>
                <a:gd name="T32" fmla="*/ 73 w 88"/>
                <a:gd name="T33" fmla="*/ 19 h 136"/>
                <a:gd name="T34" fmla="*/ 48 w 88"/>
                <a:gd name="T35" fmla="*/ 12 h 136"/>
                <a:gd name="T36" fmla="*/ 15 w 88"/>
                <a:gd name="T37" fmla="*/ 47 h 136"/>
                <a:gd name="T38" fmla="*/ 48 w 88"/>
                <a:gd name="T39" fmla="*/ 82 h 136"/>
                <a:gd name="T40" fmla="*/ 73 w 88"/>
                <a:gd name="T41" fmla="*/ 6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36">
                  <a:moveTo>
                    <a:pt x="73" y="84"/>
                  </a:moveTo>
                  <a:cubicBezTo>
                    <a:pt x="72" y="84"/>
                    <a:pt x="72" y="84"/>
                    <a:pt x="72" y="84"/>
                  </a:cubicBezTo>
                  <a:cubicBezTo>
                    <a:pt x="66" y="90"/>
                    <a:pt x="56" y="94"/>
                    <a:pt x="44" y="94"/>
                  </a:cubicBezTo>
                  <a:cubicBezTo>
                    <a:pt x="20" y="94"/>
                    <a:pt x="0" y="73"/>
                    <a:pt x="0" y="47"/>
                  </a:cubicBezTo>
                  <a:cubicBezTo>
                    <a:pt x="0" y="21"/>
                    <a:pt x="21" y="0"/>
                    <a:pt x="46" y="0"/>
                  </a:cubicBezTo>
                  <a:cubicBezTo>
                    <a:pt x="58" y="0"/>
                    <a:pt x="66" y="2"/>
                    <a:pt x="73" y="6"/>
                  </a:cubicBezTo>
                  <a:cubicBezTo>
                    <a:pt x="73" y="2"/>
                    <a:pt x="73" y="2"/>
                    <a:pt x="73" y="2"/>
                  </a:cubicBezTo>
                  <a:cubicBezTo>
                    <a:pt x="88" y="2"/>
                    <a:pt x="88" y="2"/>
                    <a:pt x="88" y="2"/>
                  </a:cubicBezTo>
                  <a:cubicBezTo>
                    <a:pt x="88" y="98"/>
                    <a:pt x="88" y="98"/>
                    <a:pt x="88" y="98"/>
                  </a:cubicBezTo>
                  <a:cubicBezTo>
                    <a:pt x="88" y="122"/>
                    <a:pt x="69" y="136"/>
                    <a:pt x="46" y="136"/>
                  </a:cubicBezTo>
                  <a:cubicBezTo>
                    <a:pt x="35" y="136"/>
                    <a:pt x="25" y="135"/>
                    <a:pt x="15" y="131"/>
                  </a:cubicBezTo>
                  <a:cubicBezTo>
                    <a:pt x="19" y="119"/>
                    <a:pt x="19" y="119"/>
                    <a:pt x="19" y="119"/>
                  </a:cubicBezTo>
                  <a:cubicBezTo>
                    <a:pt x="27" y="123"/>
                    <a:pt x="36" y="124"/>
                    <a:pt x="46" y="124"/>
                  </a:cubicBezTo>
                  <a:cubicBezTo>
                    <a:pt x="61" y="124"/>
                    <a:pt x="73" y="115"/>
                    <a:pt x="73" y="98"/>
                  </a:cubicBezTo>
                  <a:lnTo>
                    <a:pt x="73" y="84"/>
                  </a:lnTo>
                  <a:close/>
                  <a:moveTo>
                    <a:pt x="73" y="69"/>
                  </a:moveTo>
                  <a:cubicBezTo>
                    <a:pt x="73" y="19"/>
                    <a:pt x="73" y="19"/>
                    <a:pt x="73" y="19"/>
                  </a:cubicBezTo>
                  <a:cubicBezTo>
                    <a:pt x="67" y="15"/>
                    <a:pt x="56" y="12"/>
                    <a:pt x="48" y="12"/>
                  </a:cubicBezTo>
                  <a:cubicBezTo>
                    <a:pt x="30" y="12"/>
                    <a:pt x="15" y="28"/>
                    <a:pt x="15" y="47"/>
                  </a:cubicBezTo>
                  <a:cubicBezTo>
                    <a:pt x="15" y="66"/>
                    <a:pt x="30" y="82"/>
                    <a:pt x="48" y="82"/>
                  </a:cubicBezTo>
                  <a:cubicBezTo>
                    <a:pt x="58" y="82"/>
                    <a:pt x="67" y="78"/>
                    <a:pt x="7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4">
              <a:extLst>
                <a:ext uri="{FF2B5EF4-FFF2-40B4-BE49-F238E27FC236}">
                  <a16:creationId xmlns:a16="http://schemas.microsoft.com/office/drawing/2014/main" id="{559C1DDD-2E5D-499E-AD9B-6F092AD1E6BC}"/>
                </a:ext>
              </a:extLst>
            </p:cNvPr>
            <p:cNvSpPr>
              <a:spLocks/>
            </p:cNvSpPr>
            <p:nvPr userDrawn="1"/>
          </p:nvSpPr>
          <p:spPr bwMode="black">
            <a:xfrm>
              <a:off x="4967" y="2428"/>
              <a:ext cx="96" cy="157"/>
            </a:xfrm>
            <a:custGeom>
              <a:avLst/>
              <a:gdLst>
                <a:gd name="T0" fmla="*/ 0 w 82"/>
                <a:gd name="T1" fmla="*/ 0 h 133"/>
                <a:gd name="T2" fmla="*/ 14 w 82"/>
                <a:gd name="T3" fmla="*/ 0 h 133"/>
                <a:gd name="T4" fmla="*/ 14 w 82"/>
                <a:gd name="T5" fmla="*/ 53 h 133"/>
                <a:gd name="T6" fmla="*/ 15 w 82"/>
                <a:gd name="T7" fmla="*/ 54 h 133"/>
                <a:gd name="T8" fmla="*/ 49 w 82"/>
                <a:gd name="T9" fmla="*/ 40 h 133"/>
                <a:gd name="T10" fmla="*/ 82 w 82"/>
                <a:gd name="T11" fmla="*/ 78 h 133"/>
                <a:gd name="T12" fmla="*/ 82 w 82"/>
                <a:gd name="T13" fmla="*/ 133 h 133"/>
                <a:gd name="T14" fmla="*/ 67 w 82"/>
                <a:gd name="T15" fmla="*/ 133 h 133"/>
                <a:gd name="T16" fmla="*/ 67 w 82"/>
                <a:gd name="T17" fmla="*/ 78 h 133"/>
                <a:gd name="T18" fmla="*/ 45 w 82"/>
                <a:gd name="T19" fmla="*/ 52 h 133"/>
                <a:gd name="T20" fmla="*/ 14 w 82"/>
                <a:gd name="T21" fmla="*/ 70 h 133"/>
                <a:gd name="T22" fmla="*/ 14 w 82"/>
                <a:gd name="T23" fmla="*/ 133 h 133"/>
                <a:gd name="T24" fmla="*/ 0 w 82"/>
                <a:gd name="T25" fmla="*/ 133 h 133"/>
                <a:gd name="T26" fmla="*/ 0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0" y="0"/>
                  </a:moveTo>
                  <a:cubicBezTo>
                    <a:pt x="14" y="0"/>
                    <a:pt x="14" y="0"/>
                    <a:pt x="14" y="0"/>
                  </a:cubicBezTo>
                  <a:cubicBezTo>
                    <a:pt x="14" y="53"/>
                    <a:pt x="14" y="53"/>
                    <a:pt x="14" y="53"/>
                  </a:cubicBezTo>
                  <a:cubicBezTo>
                    <a:pt x="15" y="54"/>
                    <a:pt x="15" y="54"/>
                    <a:pt x="15" y="54"/>
                  </a:cubicBezTo>
                  <a:cubicBezTo>
                    <a:pt x="22" y="46"/>
                    <a:pt x="34" y="40"/>
                    <a:pt x="49" y="40"/>
                  </a:cubicBezTo>
                  <a:cubicBezTo>
                    <a:pt x="67" y="40"/>
                    <a:pt x="82" y="53"/>
                    <a:pt x="82" y="78"/>
                  </a:cubicBezTo>
                  <a:cubicBezTo>
                    <a:pt x="82" y="133"/>
                    <a:pt x="82" y="133"/>
                    <a:pt x="82" y="133"/>
                  </a:cubicBezTo>
                  <a:cubicBezTo>
                    <a:pt x="67" y="133"/>
                    <a:pt x="67" y="133"/>
                    <a:pt x="67" y="133"/>
                  </a:cubicBezTo>
                  <a:cubicBezTo>
                    <a:pt x="67" y="78"/>
                    <a:pt x="67" y="78"/>
                    <a:pt x="67" y="78"/>
                  </a:cubicBezTo>
                  <a:cubicBezTo>
                    <a:pt x="67" y="60"/>
                    <a:pt x="57" y="52"/>
                    <a:pt x="45" y="52"/>
                  </a:cubicBezTo>
                  <a:cubicBezTo>
                    <a:pt x="32" y="52"/>
                    <a:pt x="21" y="58"/>
                    <a:pt x="14" y="70"/>
                  </a:cubicBezTo>
                  <a:cubicBezTo>
                    <a:pt x="14" y="133"/>
                    <a:pt x="14" y="133"/>
                    <a:pt x="14" y="133"/>
                  </a:cubicBezTo>
                  <a:cubicBezTo>
                    <a:pt x="0" y="133"/>
                    <a:pt x="0" y="133"/>
                    <a:pt x="0" y="13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5">
              <a:extLst>
                <a:ext uri="{FF2B5EF4-FFF2-40B4-BE49-F238E27FC236}">
                  <a16:creationId xmlns:a16="http://schemas.microsoft.com/office/drawing/2014/main" id="{11FE3930-7711-498B-9D73-4B160C8FE4AF}"/>
                </a:ext>
              </a:extLst>
            </p:cNvPr>
            <p:cNvSpPr>
              <a:spLocks/>
            </p:cNvSpPr>
            <p:nvPr userDrawn="1"/>
          </p:nvSpPr>
          <p:spPr bwMode="black">
            <a:xfrm>
              <a:off x="5081" y="2442"/>
              <a:ext cx="75" cy="143"/>
            </a:xfrm>
            <a:custGeom>
              <a:avLst/>
              <a:gdLst>
                <a:gd name="T0" fmla="*/ 0 w 64"/>
                <a:gd name="T1" fmla="*/ 30 h 121"/>
                <a:gd name="T2" fmla="*/ 15 w 64"/>
                <a:gd name="T3" fmla="*/ 30 h 121"/>
                <a:gd name="T4" fmla="*/ 15 w 64"/>
                <a:gd name="T5" fmla="*/ 0 h 121"/>
                <a:gd name="T6" fmla="*/ 29 w 64"/>
                <a:gd name="T7" fmla="*/ 0 h 121"/>
                <a:gd name="T8" fmla="*/ 29 w 64"/>
                <a:gd name="T9" fmla="*/ 30 h 121"/>
                <a:gd name="T10" fmla="*/ 56 w 64"/>
                <a:gd name="T11" fmla="*/ 30 h 121"/>
                <a:gd name="T12" fmla="*/ 56 w 64"/>
                <a:gd name="T13" fmla="*/ 42 h 121"/>
                <a:gd name="T14" fmla="*/ 29 w 64"/>
                <a:gd name="T15" fmla="*/ 42 h 121"/>
                <a:gd name="T16" fmla="*/ 29 w 64"/>
                <a:gd name="T17" fmla="*/ 91 h 121"/>
                <a:gd name="T18" fmla="*/ 46 w 64"/>
                <a:gd name="T19" fmla="*/ 109 h 121"/>
                <a:gd name="T20" fmla="*/ 60 w 64"/>
                <a:gd name="T21" fmla="*/ 106 h 121"/>
                <a:gd name="T22" fmla="*/ 64 w 64"/>
                <a:gd name="T23" fmla="*/ 118 h 121"/>
                <a:gd name="T24" fmla="*/ 46 w 64"/>
                <a:gd name="T25" fmla="*/ 121 h 121"/>
                <a:gd name="T26" fmla="*/ 15 w 64"/>
                <a:gd name="T27" fmla="*/ 91 h 121"/>
                <a:gd name="T28" fmla="*/ 15 w 64"/>
                <a:gd name="T29" fmla="*/ 42 h 121"/>
                <a:gd name="T30" fmla="*/ 0 w 64"/>
                <a:gd name="T31" fmla="*/ 42 h 121"/>
                <a:gd name="T32" fmla="*/ 0 w 64"/>
                <a:gd name="T33" fmla="*/ 3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21">
                  <a:moveTo>
                    <a:pt x="0" y="30"/>
                  </a:moveTo>
                  <a:cubicBezTo>
                    <a:pt x="15" y="30"/>
                    <a:pt x="15" y="30"/>
                    <a:pt x="15" y="30"/>
                  </a:cubicBezTo>
                  <a:cubicBezTo>
                    <a:pt x="15" y="0"/>
                    <a:pt x="15" y="0"/>
                    <a:pt x="15" y="0"/>
                  </a:cubicBezTo>
                  <a:cubicBezTo>
                    <a:pt x="29" y="0"/>
                    <a:pt x="29" y="0"/>
                    <a:pt x="29" y="0"/>
                  </a:cubicBezTo>
                  <a:cubicBezTo>
                    <a:pt x="29" y="30"/>
                    <a:pt x="29" y="30"/>
                    <a:pt x="29" y="30"/>
                  </a:cubicBezTo>
                  <a:cubicBezTo>
                    <a:pt x="56" y="30"/>
                    <a:pt x="56" y="30"/>
                    <a:pt x="56" y="30"/>
                  </a:cubicBezTo>
                  <a:cubicBezTo>
                    <a:pt x="56" y="42"/>
                    <a:pt x="56" y="42"/>
                    <a:pt x="56" y="42"/>
                  </a:cubicBezTo>
                  <a:cubicBezTo>
                    <a:pt x="29" y="42"/>
                    <a:pt x="29" y="42"/>
                    <a:pt x="29" y="42"/>
                  </a:cubicBezTo>
                  <a:cubicBezTo>
                    <a:pt x="29" y="91"/>
                    <a:pt x="29" y="91"/>
                    <a:pt x="29" y="91"/>
                  </a:cubicBezTo>
                  <a:cubicBezTo>
                    <a:pt x="29" y="103"/>
                    <a:pt x="36" y="109"/>
                    <a:pt x="46" y="109"/>
                  </a:cubicBezTo>
                  <a:cubicBezTo>
                    <a:pt x="51" y="109"/>
                    <a:pt x="56" y="108"/>
                    <a:pt x="60" y="106"/>
                  </a:cubicBezTo>
                  <a:cubicBezTo>
                    <a:pt x="64" y="118"/>
                    <a:pt x="64" y="118"/>
                    <a:pt x="64" y="118"/>
                  </a:cubicBezTo>
                  <a:cubicBezTo>
                    <a:pt x="58" y="120"/>
                    <a:pt x="52" y="121"/>
                    <a:pt x="46" y="121"/>
                  </a:cubicBezTo>
                  <a:cubicBezTo>
                    <a:pt x="28" y="121"/>
                    <a:pt x="15" y="110"/>
                    <a:pt x="15" y="91"/>
                  </a:cubicBezTo>
                  <a:cubicBezTo>
                    <a:pt x="15" y="42"/>
                    <a:pt x="15" y="42"/>
                    <a:pt x="15" y="42"/>
                  </a:cubicBezTo>
                  <a:cubicBezTo>
                    <a:pt x="0" y="42"/>
                    <a:pt x="0" y="42"/>
                    <a:pt x="0" y="42"/>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8834924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BBD96-140A-49F7-B70B-436608B30CE4}"/>
              </a:ext>
            </a:extLst>
          </p:cNvPr>
          <p:cNvGrpSpPr/>
          <p:nvPr userDrawn="1"/>
        </p:nvGrpSpPr>
        <p:grpSpPr>
          <a:xfrm>
            <a:off x="0" y="0"/>
            <a:ext cx="12192000" cy="6858000"/>
            <a:chOff x="0" y="0"/>
            <a:chExt cx="12192000" cy="6858000"/>
          </a:xfrm>
        </p:grpSpPr>
        <p:sp>
          <p:nvSpPr>
            <p:cNvPr id="48" name="Freeform: Shape 47">
              <a:extLst>
                <a:ext uri="{FF2B5EF4-FFF2-40B4-BE49-F238E27FC236}">
                  <a16:creationId xmlns:a16="http://schemas.microsoft.com/office/drawing/2014/main" id="{11D71861-0DD2-4F91-B0BB-B1D5F39168A0}"/>
                </a:ext>
              </a:extLst>
            </p:cNvPr>
            <p:cNvSpPr/>
            <p:nvPr userDrawn="1"/>
          </p:nvSpPr>
          <p:spPr>
            <a:xfrm>
              <a:off x="0" y="0"/>
              <a:ext cx="12192000" cy="6858000"/>
            </a:xfrm>
            <a:custGeom>
              <a:avLst/>
              <a:gdLst>
                <a:gd name="connsiteX0" fmla="*/ 685799 w 12192000"/>
                <a:gd name="connsiteY0" fmla="*/ 609601 h 6858000"/>
                <a:gd name="connsiteX1" fmla="*/ 685799 w 12192000"/>
                <a:gd name="connsiteY1" fmla="*/ 916939 h 6858000"/>
                <a:gd name="connsiteX2" fmla="*/ 685800 w 12192000"/>
                <a:gd name="connsiteY2" fmla="*/ 916939 h 6858000"/>
                <a:gd name="connsiteX3" fmla="*/ 685800 w 12192000"/>
                <a:gd name="connsiteY3" fmla="*/ 6350000 h 6858000"/>
                <a:gd name="connsiteX4" fmla="*/ 11506200 w 12192000"/>
                <a:gd name="connsiteY4" fmla="*/ 6350000 h 6858000"/>
                <a:gd name="connsiteX5" fmla="*/ 11506200 w 12192000"/>
                <a:gd name="connsiteY5" fmla="*/ 863600 h 6858000"/>
                <a:gd name="connsiteX6" fmla="*/ 11506199 w 12192000"/>
                <a:gd name="connsiteY6" fmla="*/ 863600 h 6858000"/>
                <a:gd name="connsiteX7" fmla="*/ 11506199 w 12192000"/>
                <a:gd name="connsiteY7" fmla="*/ 60960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85799" y="609601"/>
                  </a:moveTo>
                  <a:lnTo>
                    <a:pt x="685799" y="916939"/>
                  </a:lnTo>
                  <a:lnTo>
                    <a:pt x="685800" y="916939"/>
                  </a:lnTo>
                  <a:lnTo>
                    <a:pt x="685800" y="6350000"/>
                  </a:lnTo>
                  <a:lnTo>
                    <a:pt x="11506200" y="6350000"/>
                  </a:lnTo>
                  <a:lnTo>
                    <a:pt x="11506200" y="863600"/>
                  </a:lnTo>
                  <a:lnTo>
                    <a:pt x="11506199" y="863600"/>
                  </a:lnTo>
                  <a:lnTo>
                    <a:pt x="11506199" y="609601"/>
                  </a:lnTo>
                  <a:close/>
                  <a:moveTo>
                    <a:pt x="0" y="0"/>
                  </a:moveTo>
                  <a:lnTo>
                    <a:pt x="12192000" y="0"/>
                  </a:lnTo>
                  <a:lnTo>
                    <a:pt x="12192000" y="6858000"/>
                  </a:lnTo>
                  <a:lnTo>
                    <a:pt x="0" y="6858000"/>
                  </a:lnTo>
                  <a:close/>
                </a:path>
              </a:pathLst>
            </a:custGeom>
            <a:solidFill>
              <a:srgbClr val="FF6699">
                <a:alpha val="7000"/>
              </a:srgb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14191A"/>
                </a:solidFill>
                <a:latin typeface="Arial" panose="020B0604020202020204"/>
              </a:endParaRPr>
            </a:p>
          </p:txBody>
        </p:sp>
        <p:grpSp>
          <p:nvGrpSpPr>
            <p:cNvPr id="4" name="Group 3">
              <a:extLst>
                <a:ext uri="{FF2B5EF4-FFF2-40B4-BE49-F238E27FC236}">
                  <a16:creationId xmlns:a16="http://schemas.microsoft.com/office/drawing/2014/main" id="{44D02EFD-8B05-41F1-819B-195D557801C7}"/>
                </a:ext>
              </a:extLst>
            </p:cNvPr>
            <p:cNvGrpSpPr/>
            <p:nvPr userDrawn="1"/>
          </p:nvGrpSpPr>
          <p:grpSpPr>
            <a:xfrm>
              <a:off x="0" y="965200"/>
              <a:ext cx="12192000" cy="5537200"/>
              <a:chOff x="0" y="965200"/>
              <a:chExt cx="12192000" cy="5537200"/>
            </a:xfrm>
          </p:grpSpPr>
          <p:sp>
            <p:nvSpPr>
              <p:cNvPr id="87" name="Rectangle 86">
                <a:extLst>
                  <a:ext uri="{FF2B5EF4-FFF2-40B4-BE49-F238E27FC236}">
                    <a16:creationId xmlns:a16="http://schemas.microsoft.com/office/drawing/2014/main" id="{F5BA6BD8-64A8-4052-8562-9D66E2C64EE1}"/>
                  </a:ext>
                </a:extLst>
              </p:cNvPr>
              <p:cNvSpPr/>
              <p:nvPr userDrawn="1"/>
            </p:nvSpPr>
            <p:spPr>
              <a:xfrm>
                <a:off x="685800" y="5906515"/>
                <a:ext cx="10820400" cy="44450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14191A"/>
                  </a:solidFill>
                  <a:latin typeface="Arial" panose="020B0604020202020204"/>
                </a:endParaRPr>
              </a:p>
            </p:txBody>
          </p:sp>
          <p:grpSp>
            <p:nvGrpSpPr>
              <p:cNvPr id="67" name="Group 66">
                <a:extLst>
                  <a:ext uri="{FF2B5EF4-FFF2-40B4-BE49-F238E27FC236}">
                    <a16:creationId xmlns:a16="http://schemas.microsoft.com/office/drawing/2014/main" id="{A43F14D2-490D-4AF2-A5CD-2E28590DA616}"/>
                  </a:ext>
                </a:extLst>
              </p:cNvPr>
              <p:cNvGrpSpPr/>
              <p:nvPr userDrawn="1"/>
            </p:nvGrpSpPr>
            <p:grpSpPr>
              <a:xfrm>
                <a:off x="342900" y="2235200"/>
                <a:ext cx="11506200" cy="4114800"/>
                <a:chOff x="342900" y="-706164"/>
                <a:chExt cx="11506200" cy="1562145"/>
              </a:xfrm>
              <a:solidFill>
                <a:schemeClr val="bg1">
                  <a:lumMod val="75000"/>
                  <a:alpha val="50000"/>
                </a:schemeClr>
              </a:solidFill>
            </p:grpSpPr>
            <p:sp>
              <p:nvSpPr>
                <p:cNvPr id="68" name="Rectangle 67">
                  <a:extLst>
                    <a:ext uri="{FF2B5EF4-FFF2-40B4-BE49-F238E27FC236}">
                      <a16:creationId xmlns:a16="http://schemas.microsoft.com/office/drawing/2014/main" id="{9F28CADE-B65A-4EEB-B0E8-3E8663D92F60}"/>
                    </a:ext>
                  </a:extLst>
                </p:cNvPr>
                <p:cNvSpPr/>
                <p:nvPr userDrawn="1"/>
              </p:nvSpPr>
              <p:spPr>
                <a:xfrm>
                  <a:off x="3429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Rectangle 68">
                  <a:extLst>
                    <a:ext uri="{FF2B5EF4-FFF2-40B4-BE49-F238E27FC236}">
                      <a16:creationId xmlns:a16="http://schemas.microsoft.com/office/drawing/2014/main" id="{7D0FF2EC-211A-4F75-A6A9-7251F0B3C41C}"/>
                    </a:ext>
                  </a:extLst>
                </p:cNvPr>
                <p:cNvSpPr/>
                <p:nvPr userDrawn="1"/>
              </p:nvSpPr>
              <p:spPr>
                <a:xfrm>
                  <a:off x="12731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E2F69EE4-6B4B-4012-9D1D-7E7939864095}"/>
                    </a:ext>
                  </a:extLst>
                </p:cNvPr>
                <p:cNvSpPr/>
                <p:nvPr userDrawn="1"/>
              </p:nvSpPr>
              <p:spPr>
                <a:xfrm>
                  <a:off x="22034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Rectangle 70">
                  <a:extLst>
                    <a:ext uri="{FF2B5EF4-FFF2-40B4-BE49-F238E27FC236}">
                      <a16:creationId xmlns:a16="http://schemas.microsoft.com/office/drawing/2014/main" id="{D8F57411-FFF6-4551-A417-A31B68E47018}"/>
                    </a:ext>
                  </a:extLst>
                </p:cNvPr>
                <p:cNvSpPr/>
                <p:nvPr userDrawn="1"/>
              </p:nvSpPr>
              <p:spPr>
                <a:xfrm>
                  <a:off x="31337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2" name="Rectangle 71">
                  <a:extLst>
                    <a:ext uri="{FF2B5EF4-FFF2-40B4-BE49-F238E27FC236}">
                      <a16:creationId xmlns:a16="http://schemas.microsoft.com/office/drawing/2014/main" id="{CCA9104A-A74A-4282-8DFF-F7370AF0628F}"/>
                    </a:ext>
                  </a:extLst>
                </p:cNvPr>
                <p:cNvSpPr/>
                <p:nvPr userDrawn="1"/>
              </p:nvSpPr>
              <p:spPr>
                <a:xfrm>
                  <a:off x="40640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3" name="Rectangle 72">
                  <a:extLst>
                    <a:ext uri="{FF2B5EF4-FFF2-40B4-BE49-F238E27FC236}">
                      <a16:creationId xmlns:a16="http://schemas.microsoft.com/office/drawing/2014/main" id="{2EB6FDBD-E9C2-4DF1-8E7D-7110DCBD3E62}"/>
                    </a:ext>
                  </a:extLst>
                </p:cNvPr>
                <p:cNvSpPr/>
                <p:nvPr userDrawn="1"/>
              </p:nvSpPr>
              <p:spPr>
                <a:xfrm>
                  <a:off x="49942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4" name="Rectangle 73">
                  <a:extLst>
                    <a:ext uri="{FF2B5EF4-FFF2-40B4-BE49-F238E27FC236}">
                      <a16:creationId xmlns:a16="http://schemas.microsoft.com/office/drawing/2014/main" id="{446FB055-975D-4443-BCA6-11B69C3C850E}"/>
                    </a:ext>
                  </a:extLst>
                </p:cNvPr>
                <p:cNvSpPr/>
                <p:nvPr userDrawn="1"/>
              </p:nvSpPr>
              <p:spPr>
                <a:xfrm>
                  <a:off x="59245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Rectangle 74">
                  <a:extLst>
                    <a:ext uri="{FF2B5EF4-FFF2-40B4-BE49-F238E27FC236}">
                      <a16:creationId xmlns:a16="http://schemas.microsoft.com/office/drawing/2014/main" id="{27261E12-9721-4C01-89BA-6EDA6FA6B780}"/>
                    </a:ext>
                  </a:extLst>
                </p:cNvPr>
                <p:cNvSpPr/>
                <p:nvPr userDrawn="1"/>
              </p:nvSpPr>
              <p:spPr>
                <a:xfrm>
                  <a:off x="68548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Rectangle 75">
                  <a:extLst>
                    <a:ext uri="{FF2B5EF4-FFF2-40B4-BE49-F238E27FC236}">
                      <a16:creationId xmlns:a16="http://schemas.microsoft.com/office/drawing/2014/main" id="{74584D7E-27C6-4364-9156-C01233BA5BA8}"/>
                    </a:ext>
                  </a:extLst>
                </p:cNvPr>
                <p:cNvSpPr/>
                <p:nvPr userDrawn="1"/>
              </p:nvSpPr>
              <p:spPr>
                <a:xfrm>
                  <a:off x="77851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7" name="Rectangle 76">
                  <a:extLst>
                    <a:ext uri="{FF2B5EF4-FFF2-40B4-BE49-F238E27FC236}">
                      <a16:creationId xmlns:a16="http://schemas.microsoft.com/office/drawing/2014/main" id="{467D3DDB-6C3F-47FE-B498-0ABBBA54E23B}"/>
                    </a:ext>
                  </a:extLst>
                </p:cNvPr>
                <p:cNvSpPr/>
                <p:nvPr userDrawn="1"/>
              </p:nvSpPr>
              <p:spPr>
                <a:xfrm>
                  <a:off x="87153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Rectangle 77">
                  <a:extLst>
                    <a:ext uri="{FF2B5EF4-FFF2-40B4-BE49-F238E27FC236}">
                      <a16:creationId xmlns:a16="http://schemas.microsoft.com/office/drawing/2014/main" id="{4D2930EB-553B-4899-9F2C-B8760F197EBB}"/>
                    </a:ext>
                  </a:extLst>
                </p:cNvPr>
                <p:cNvSpPr/>
                <p:nvPr userDrawn="1"/>
              </p:nvSpPr>
              <p:spPr>
                <a:xfrm>
                  <a:off x="96456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a:extLst>
                    <a:ext uri="{FF2B5EF4-FFF2-40B4-BE49-F238E27FC236}">
                      <a16:creationId xmlns:a16="http://schemas.microsoft.com/office/drawing/2014/main" id="{0DE888DC-B088-456E-AA94-01342685C7E5}"/>
                    </a:ext>
                  </a:extLst>
                </p:cNvPr>
                <p:cNvSpPr/>
                <p:nvPr userDrawn="1"/>
              </p:nvSpPr>
              <p:spPr>
                <a:xfrm>
                  <a:off x="105759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C1DB87D4-BA6E-46B7-8C68-D75E7C0E11D5}"/>
                    </a:ext>
                  </a:extLst>
                </p:cNvPr>
                <p:cNvSpPr/>
                <p:nvPr userDrawn="1"/>
              </p:nvSpPr>
              <p:spPr>
                <a:xfrm>
                  <a:off x="115062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5D929EC2-E312-4DCA-B8FD-2C456DFEB18A}"/>
                  </a:ext>
                </a:extLst>
              </p:cNvPr>
              <p:cNvGrpSpPr/>
              <p:nvPr userDrawn="1"/>
            </p:nvGrpSpPr>
            <p:grpSpPr>
              <a:xfrm>
                <a:off x="0" y="965200"/>
                <a:ext cx="12192000" cy="5537200"/>
                <a:chOff x="0" y="965200"/>
                <a:chExt cx="12192000" cy="5537200"/>
              </a:xfrm>
            </p:grpSpPr>
            <p:grpSp>
              <p:nvGrpSpPr>
                <p:cNvPr id="51" name="Group 50">
                  <a:extLst>
                    <a:ext uri="{FF2B5EF4-FFF2-40B4-BE49-F238E27FC236}">
                      <a16:creationId xmlns:a16="http://schemas.microsoft.com/office/drawing/2014/main" id="{4CE20CCA-DD6D-4945-BF6E-A1BE9F2F579C}"/>
                    </a:ext>
                  </a:extLst>
                </p:cNvPr>
                <p:cNvGrpSpPr/>
                <p:nvPr userDrawn="1"/>
              </p:nvGrpSpPr>
              <p:grpSpPr>
                <a:xfrm>
                  <a:off x="0" y="2235200"/>
                  <a:ext cx="12192000" cy="4267200"/>
                  <a:chOff x="0" y="2235200"/>
                  <a:chExt cx="12192000" cy="4267200"/>
                </a:xfrm>
              </p:grpSpPr>
              <p:cxnSp>
                <p:nvCxnSpPr>
                  <p:cNvPr id="52" name="Straight Connector 51">
                    <a:extLst>
                      <a:ext uri="{FF2B5EF4-FFF2-40B4-BE49-F238E27FC236}">
                        <a16:creationId xmlns:a16="http://schemas.microsoft.com/office/drawing/2014/main" id="{8EBE4440-7FD7-4F95-86CC-4AECE8A210BF}"/>
                      </a:ext>
                    </a:extLst>
                  </p:cNvPr>
                  <p:cNvCxnSpPr/>
                  <p:nvPr userDrawn="1"/>
                </p:nvCxnSpPr>
                <p:spPr>
                  <a:xfrm>
                    <a:off x="0" y="254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2DF9326-5BBC-4B6A-974C-A110F79CF657}"/>
                      </a:ext>
                    </a:extLst>
                  </p:cNvPr>
                  <p:cNvCxnSpPr/>
                  <p:nvPr userDrawn="1"/>
                </p:nvCxnSpPr>
                <p:spPr>
                  <a:xfrm>
                    <a:off x="0" y="2844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301E58A-7181-479E-9A26-1412D78B73DC}"/>
                      </a:ext>
                    </a:extLst>
                  </p:cNvPr>
                  <p:cNvCxnSpPr/>
                  <p:nvPr userDrawn="1"/>
                </p:nvCxnSpPr>
                <p:spPr>
                  <a:xfrm>
                    <a:off x="0" y="3149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2D572E-BA04-4F18-92CF-51C50706A670}"/>
                      </a:ext>
                    </a:extLst>
                  </p:cNvPr>
                  <p:cNvCxnSpPr/>
                  <p:nvPr userDrawn="1"/>
                </p:nvCxnSpPr>
                <p:spPr>
                  <a:xfrm>
                    <a:off x="0" y="3454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771DED-72EC-443D-875B-58D1DFB50879}"/>
                      </a:ext>
                    </a:extLst>
                  </p:cNvPr>
                  <p:cNvCxnSpPr/>
                  <p:nvPr userDrawn="1"/>
                </p:nvCxnSpPr>
                <p:spPr>
                  <a:xfrm>
                    <a:off x="0" y="3759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8C3EF44-4080-45E6-AAD6-7C9E7E5A44D8}"/>
                      </a:ext>
                    </a:extLst>
                  </p:cNvPr>
                  <p:cNvCxnSpPr/>
                  <p:nvPr userDrawn="1"/>
                </p:nvCxnSpPr>
                <p:spPr>
                  <a:xfrm>
                    <a:off x="0" y="4064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59F5C16-0FB3-4ADB-A9E6-C821A60B46DD}"/>
                      </a:ext>
                    </a:extLst>
                  </p:cNvPr>
                  <p:cNvCxnSpPr/>
                  <p:nvPr userDrawn="1"/>
                </p:nvCxnSpPr>
                <p:spPr>
                  <a:xfrm>
                    <a:off x="0" y="4368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216133-EDBC-490B-A89B-808B2B77C59F}"/>
                      </a:ext>
                    </a:extLst>
                  </p:cNvPr>
                  <p:cNvCxnSpPr/>
                  <p:nvPr userDrawn="1"/>
                </p:nvCxnSpPr>
                <p:spPr>
                  <a:xfrm>
                    <a:off x="0" y="4673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9C1BB4-09D0-43AA-A278-192F928245B0}"/>
                      </a:ext>
                    </a:extLst>
                  </p:cNvPr>
                  <p:cNvCxnSpPr/>
                  <p:nvPr userDrawn="1"/>
                </p:nvCxnSpPr>
                <p:spPr>
                  <a:xfrm>
                    <a:off x="0" y="4978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0474173-8457-46CD-AD88-BA9DDB14ED36}"/>
                      </a:ext>
                    </a:extLst>
                  </p:cNvPr>
                  <p:cNvCxnSpPr/>
                  <p:nvPr userDrawn="1"/>
                </p:nvCxnSpPr>
                <p:spPr>
                  <a:xfrm>
                    <a:off x="0" y="5283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364E54C-ACDC-412B-82E1-0E90DD96FFCC}"/>
                      </a:ext>
                    </a:extLst>
                  </p:cNvPr>
                  <p:cNvCxnSpPr/>
                  <p:nvPr userDrawn="1"/>
                </p:nvCxnSpPr>
                <p:spPr>
                  <a:xfrm>
                    <a:off x="0" y="5588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77BE6F2-48FC-49E1-B365-A554028C8D47}"/>
                      </a:ext>
                    </a:extLst>
                  </p:cNvPr>
                  <p:cNvCxnSpPr/>
                  <p:nvPr userDrawn="1"/>
                </p:nvCxnSpPr>
                <p:spPr>
                  <a:xfrm>
                    <a:off x="0" y="65024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CA28988-CCDD-4000-B07C-D195D0888D40}"/>
                      </a:ext>
                    </a:extLst>
                  </p:cNvPr>
                  <p:cNvCxnSpPr/>
                  <p:nvPr userDrawn="1"/>
                </p:nvCxnSpPr>
                <p:spPr>
                  <a:xfrm>
                    <a:off x="0" y="223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3A76DA1-476F-423B-B27D-F02ED7954A54}"/>
                      </a:ext>
                    </a:extLst>
                  </p:cNvPr>
                  <p:cNvCxnSpPr/>
                  <p:nvPr userDrawn="1"/>
                </p:nvCxnSpPr>
                <p:spPr>
                  <a:xfrm>
                    <a:off x="0" y="58928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1B6E416-1F33-495B-8960-E839161FE019}"/>
                      </a:ext>
                    </a:extLst>
                  </p:cNvPr>
                  <p:cNvCxnSpPr/>
                  <p:nvPr userDrawn="1"/>
                </p:nvCxnSpPr>
                <p:spPr>
                  <a:xfrm>
                    <a:off x="0" y="61976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0B2D06-4DDE-4630-9841-466FD2C2FE8F}"/>
                      </a:ext>
                    </a:extLst>
                  </p:cNvPr>
                  <p:cNvCxnSpPr/>
                  <p:nvPr userDrawn="1"/>
                </p:nvCxnSpPr>
                <p:spPr>
                  <a:xfrm>
                    <a:off x="0" y="6121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0EA5573-A9B5-45B6-B32D-7AD4881145A2}"/>
                      </a:ext>
                    </a:extLst>
                  </p:cNvPr>
                  <p:cNvCxnSpPr/>
                  <p:nvPr userDrawn="1"/>
                </p:nvCxnSpPr>
                <p:spPr>
                  <a:xfrm>
                    <a:off x="0" y="604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D2D9D01-B662-438D-BF68-6FEEFBDBAB05}"/>
                      </a:ext>
                    </a:extLst>
                  </p:cNvPr>
                  <p:cNvCxnSpPr/>
                  <p:nvPr userDrawn="1"/>
                </p:nvCxnSpPr>
                <p:spPr>
                  <a:xfrm>
                    <a:off x="0" y="59410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A9EFC26-34D9-4564-AEFA-AD675702B9A5}"/>
                      </a:ext>
                    </a:extLst>
                  </p:cNvPr>
                  <p:cNvCxnSpPr/>
                  <p:nvPr userDrawn="1"/>
                </p:nvCxnSpPr>
                <p:spPr>
                  <a:xfrm>
                    <a:off x="0" y="6273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C710DE-1ED5-41CB-B480-5FB23FA62CAB}"/>
                      </a:ext>
                    </a:extLst>
                  </p:cNvPr>
                  <p:cNvCxnSpPr/>
                  <p:nvPr userDrawn="1"/>
                </p:nvCxnSpPr>
                <p:spPr>
                  <a:xfrm>
                    <a:off x="0" y="635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813989B-DA10-42E1-B0E6-1B74395E76F3}"/>
                    </a:ext>
                  </a:extLst>
                </p:cNvPr>
                <p:cNvGrpSpPr/>
                <p:nvPr userDrawn="1"/>
              </p:nvGrpSpPr>
              <p:grpSpPr>
                <a:xfrm>
                  <a:off x="0" y="965200"/>
                  <a:ext cx="12192000" cy="416560"/>
                  <a:chOff x="0" y="965200"/>
                  <a:chExt cx="12192000" cy="416560"/>
                </a:xfrm>
              </p:grpSpPr>
              <p:cxnSp>
                <p:nvCxnSpPr>
                  <p:cNvPr id="122" name="Straight Connector 121">
                    <a:extLst>
                      <a:ext uri="{FF2B5EF4-FFF2-40B4-BE49-F238E27FC236}">
                        <a16:creationId xmlns:a16="http://schemas.microsoft.com/office/drawing/2014/main" id="{AC72A70A-FF81-44E6-82F5-56BD2C75B517}"/>
                      </a:ext>
                    </a:extLst>
                  </p:cNvPr>
                  <p:cNvCxnSpPr/>
                  <p:nvPr userDrawn="1"/>
                </p:nvCxnSpPr>
                <p:spPr>
                  <a:xfrm>
                    <a:off x="0" y="13817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9C401725-148D-4B17-95BF-547229D199EA}"/>
                      </a:ext>
                    </a:extLst>
                  </p:cNvPr>
                  <p:cNvCxnSpPr/>
                  <p:nvPr/>
                </p:nvCxnSpPr>
                <p:spPr>
                  <a:xfrm>
                    <a:off x="0" y="96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815AB8AF-C856-4DEE-B18E-66BC85726417}"/>
                  </a:ext>
                </a:extLst>
              </p:cNvPr>
              <p:cNvSpPr txBox="1"/>
              <p:nvPr/>
            </p:nvSpPr>
            <p:spPr>
              <a:xfrm>
                <a:off x="697992" y="5900420"/>
                <a:ext cx="7085584" cy="474472"/>
              </a:xfrm>
              <a:prstGeom prst="rect">
                <a:avLst/>
              </a:prstGeom>
              <a:noFill/>
            </p:spPr>
            <p:txBody>
              <a:bodyPr wrap="square" lIns="0" tIns="0" rIns="0" bIns="0" rtlCol="0" anchor="b">
                <a:noAutofit/>
              </a:bodyPr>
              <a:lstStyle/>
              <a:p>
                <a:pPr algn="l"/>
                <a:r>
                  <a:rPr lang="en-US" sz="1000" dirty="0">
                    <a:solidFill>
                      <a:schemeClr val="tx1">
                        <a:lumMod val="90000"/>
                        <a:lumOff val="10000"/>
                      </a:schemeClr>
                    </a:solidFill>
                  </a:rPr>
                  <a:t>Source goes here, bottom aligned, 10 pt font. Source should be three lines or less. It is okay to widen the source box only if doing so is required to keep the source notes at three lines or less. Keep in mind that the wider the box, the hard to read multiple lines of text. Change the source notes to white over dark backgrounds or dark photography.</a:t>
                </a:r>
              </a:p>
            </p:txBody>
          </p:sp>
          <p:sp>
            <p:nvSpPr>
              <p:cNvPr id="85" name="Rectangle 84">
                <a:extLst>
                  <a:ext uri="{FF2B5EF4-FFF2-40B4-BE49-F238E27FC236}">
                    <a16:creationId xmlns:a16="http://schemas.microsoft.com/office/drawing/2014/main" id="{8BC292D0-CB52-4486-B3D1-8093FB39683C}"/>
                  </a:ext>
                </a:extLst>
              </p:cNvPr>
              <p:cNvSpPr/>
              <p:nvPr userDrawn="1"/>
            </p:nvSpPr>
            <p:spPr>
              <a:xfrm>
                <a:off x="685800" y="2235200"/>
                <a:ext cx="10820400" cy="4114800"/>
              </a:xfrm>
              <a:prstGeom prst="rect">
                <a:avLst/>
              </a:prstGeom>
              <a:noFill/>
              <a:ln w="6350">
                <a:solidFill>
                  <a:srgbClr val="92D050"/>
                </a:solidFill>
              </a:ln>
            </p:spPr>
            <p:txBody>
              <a:bodyPr vert="horz" wrap="square" lIns="91440" tIns="45720" rIns="91440" bIns="45720" numCol="1" anchor="t" anchorCtr="0" compatLnSpc="1">
                <a:prstTxWarp prst="textNoShape">
                  <a:avLst/>
                </a:prstTxWarp>
                <a:noAutofit/>
              </a:bodyPr>
              <a:lstStyle/>
              <a:p>
                <a:endParaRPr lang="en-US" dirty="0">
                  <a:solidFill>
                    <a:srgbClr val="14191A"/>
                  </a:solidFill>
                  <a:latin typeface="Arial" panose="020B0604020202020204"/>
                </a:endParaRPr>
              </a:p>
            </p:txBody>
          </p:sp>
          <p:sp>
            <p:nvSpPr>
              <p:cNvPr id="124" name="Rectangle 123">
                <a:extLst>
                  <a:ext uri="{FF2B5EF4-FFF2-40B4-BE49-F238E27FC236}">
                    <a16:creationId xmlns:a16="http://schemas.microsoft.com/office/drawing/2014/main" id="{DCE31391-444F-4B33-98D2-22626376B484}"/>
                  </a:ext>
                </a:extLst>
              </p:cNvPr>
              <p:cNvSpPr/>
              <p:nvPr userDrawn="1"/>
            </p:nvSpPr>
            <p:spPr>
              <a:xfrm>
                <a:off x="685800" y="1381760"/>
                <a:ext cx="10820400" cy="85471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14191A"/>
                  </a:solidFill>
                  <a:latin typeface="Arial" panose="020B0604020202020204"/>
                </a:endParaRPr>
              </a:p>
            </p:txBody>
          </p:sp>
        </p:grpSp>
      </p:grpSp>
      <p:sp>
        <p:nvSpPr>
          <p:cNvPr id="108" name="Rectangle 107">
            <a:extLst>
              <a:ext uri="{FF2B5EF4-FFF2-40B4-BE49-F238E27FC236}">
                <a16:creationId xmlns:a16="http://schemas.microsoft.com/office/drawing/2014/main" id="{A3913112-4CCB-4EF6-9F66-71AC81DAF69E}"/>
              </a:ext>
            </a:extLst>
          </p:cNvPr>
          <p:cNvSpPr/>
          <p:nvPr userDrawn="1"/>
        </p:nvSpPr>
        <p:spPr>
          <a:xfrm>
            <a:off x="5236464" y="0"/>
            <a:ext cx="1828800" cy="29260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o not delete</a:t>
            </a:r>
          </a:p>
        </p:txBody>
      </p:sp>
    </p:spTree>
    <p:extLst>
      <p:ext uri="{BB962C8B-B14F-4D97-AF65-F5344CB8AC3E}">
        <p14:creationId xmlns:p14="http://schemas.microsoft.com/office/powerpoint/2010/main" val="22153721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Image Left, Title, Main Content">
    <p:spTree>
      <p:nvGrpSpPr>
        <p:cNvPr id="1" name=""/>
        <p:cNvGrpSpPr/>
        <p:nvPr/>
      </p:nvGrpSpPr>
      <p:grpSpPr>
        <a:xfrm>
          <a:off x="0" y="0"/>
          <a:ext cx="0" cy="0"/>
          <a:chOff x="0" y="0"/>
          <a:chExt cx="0" cy="0"/>
        </a:xfrm>
      </p:grpSpPr>
      <p:sp>
        <p:nvSpPr>
          <p:cNvPr id="16" name="Picture Placeholder 52">
            <a:extLst>
              <a:ext uri="{FF2B5EF4-FFF2-40B4-BE49-F238E27FC236}">
                <a16:creationId xmlns:a16="http://schemas.microsoft.com/office/drawing/2014/main" id="{E4D8F40B-4C5F-4B0B-870E-114CEE0D5C17}"/>
              </a:ext>
            </a:extLst>
          </p:cNvPr>
          <p:cNvSpPr>
            <a:spLocks noGrp="1"/>
          </p:cNvSpPr>
          <p:nvPr>
            <p:ph type="pic" sz="quarter" idx="14"/>
          </p:nvPr>
        </p:nvSpPr>
        <p:spPr bwMode="white">
          <a:xfrm>
            <a:off x="0" y="0"/>
            <a:ext cx="3475101" cy="6858000"/>
          </a:xfrm>
          <a:solidFill>
            <a:schemeClr val="bg2"/>
          </a:solidFill>
        </p:spPr>
        <p:txBody>
          <a:bodyPr anchor="ctr"/>
          <a:lstStyle>
            <a:lvl1pPr algn="ctr">
              <a:defRPr/>
            </a:lvl1pPr>
          </a:lstStyle>
          <a:p>
            <a:r>
              <a:rPr lang="en-US"/>
              <a:t>Drag picture to placeholder or click icon to add</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17" name="Content Placeholder 2">
            <a:extLst>
              <a:ext uri="{FF2B5EF4-FFF2-40B4-BE49-F238E27FC236}">
                <a16:creationId xmlns:a16="http://schemas.microsoft.com/office/drawing/2014/main" id="{1F707DDF-463F-42F9-A237-A59109B96BAD}"/>
              </a:ext>
            </a:extLst>
          </p:cNvPr>
          <p:cNvSpPr>
            <a:spLocks noGrp="1"/>
          </p:cNvSpPr>
          <p:nvPr>
            <p:ph idx="1"/>
          </p:nvPr>
        </p:nvSpPr>
        <p:spPr>
          <a:xfrm>
            <a:off x="4074274" y="1930400"/>
            <a:ext cx="7431926"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2">
            <a:extLst>
              <a:ext uri="{FF2B5EF4-FFF2-40B4-BE49-F238E27FC236}">
                <a16:creationId xmlns:a16="http://schemas.microsoft.com/office/drawing/2014/main" id="{8337C91B-0531-4130-AB7D-F920693D393F}"/>
              </a:ext>
            </a:extLst>
          </p:cNvPr>
          <p:cNvSpPr>
            <a:spLocks noGrp="1"/>
          </p:cNvSpPr>
          <p:nvPr>
            <p:ph type="subTitle" idx="15"/>
          </p:nvPr>
        </p:nvSpPr>
        <p:spPr>
          <a:xfrm>
            <a:off x="4074273" y="1080663"/>
            <a:ext cx="7431926"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Title 1">
            <a:extLst>
              <a:ext uri="{FF2B5EF4-FFF2-40B4-BE49-F238E27FC236}">
                <a16:creationId xmlns:a16="http://schemas.microsoft.com/office/drawing/2014/main" id="{745A66F0-3244-4110-82BC-B3D6917E6346}"/>
              </a:ext>
            </a:extLst>
          </p:cNvPr>
          <p:cNvSpPr>
            <a:spLocks noGrp="1"/>
          </p:cNvSpPr>
          <p:nvPr>
            <p:ph type="title"/>
          </p:nvPr>
        </p:nvSpPr>
        <p:spPr>
          <a:xfrm>
            <a:off x="4074274" y="570707"/>
            <a:ext cx="7431926" cy="498598"/>
          </a:xfrm>
        </p:spPr>
        <p:txBody>
          <a:bodyPr/>
          <a:lstStyle/>
          <a:p>
            <a:r>
              <a:rPr lang="en-US"/>
              <a:t>Click to edit Master title style</a:t>
            </a:r>
            <a:endParaRPr lang="en-US" dirty="0"/>
          </a:p>
        </p:txBody>
      </p:sp>
    </p:spTree>
    <p:extLst>
      <p:ext uri="{BB962C8B-B14F-4D97-AF65-F5344CB8AC3E}">
        <p14:creationId xmlns:p14="http://schemas.microsoft.com/office/powerpoint/2010/main" val="22946164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4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199BD2"/>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dirty="0"/>
              <a:t>Edit Master text styles</a:t>
            </a:r>
          </a:p>
        </p:txBody>
      </p:sp>
      <p:pic>
        <p:nvPicPr>
          <p:cNvPr id="19" name="Picture 18">
            <a:extLst>
              <a:ext uri="{FF2B5EF4-FFF2-40B4-BE49-F238E27FC236}">
                <a16:creationId xmlns:a16="http://schemas.microsoft.com/office/drawing/2014/main" id="{2D26D866-CF1D-46A1-9BBC-87A04AA55C67}"/>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bwMode="white">
          <a:xfrm>
            <a:off x="0" y="0"/>
            <a:ext cx="3475101" cy="6858000"/>
          </a:xfrm>
          <a:prstGeom prst="rect">
            <a:avLst/>
          </a:prstGeom>
        </p:spPr>
      </p:pic>
      <p:grpSp>
        <p:nvGrpSpPr>
          <p:cNvPr id="20" name="Group 19">
            <a:extLst>
              <a:ext uri="{FF2B5EF4-FFF2-40B4-BE49-F238E27FC236}">
                <a16:creationId xmlns:a16="http://schemas.microsoft.com/office/drawing/2014/main" id="{0DAE9E19-A328-4F77-B74C-77DD65AF7970}"/>
              </a:ext>
            </a:extLst>
          </p:cNvPr>
          <p:cNvGrpSpPr/>
          <p:nvPr userDrawn="1"/>
        </p:nvGrpSpPr>
        <p:grpSpPr bwMode="black">
          <a:xfrm>
            <a:off x="914432" y="724571"/>
            <a:ext cx="1646237" cy="358775"/>
            <a:chOff x="531547" y="724571"/>
            <a:chExt cx="1646237" cy="358775"/>
          </a:xfrm>
        </p:grpSpPr>
        <p:sp>
          <p:nvSpPr>
            <p:cNvPr id="21" name="Freeform 9">
              <a:extLst>
                <a:ext uri="{FF2B5EF4-FFF2-40B4-BE49-F238E27FC236}">
                  <a16:creationId xmlns:a16="http://schemas.microsoft.com/office/drawing/2014/main" id="{22C79588-6A1A-4F6C-B6E1-E00AD4C9D30B}"/>
                </a:ext>
              </a:extLst>
            </p:cNvPr>
            <p:cNvSpPr>
              <a:spLocks/>
            </p:cNvSpPr>
            <p:nvPr/>
          </p:nvSpPr>
          <p:spPr bwMode="black">
            <a:xfrm>
              <a:off x="656959" y="878559"/>
              <a:ext cx="166687" cy="187325"/>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0">
              <a:extLst>
                <a:ext uri="{FF2B5EF4-FFF2-40B4-BE49-F238E27FC236}">
                  <a16:creationId xmlns:a16="http://schemas.microsoft.com/office/drawing/2014/main" id="{CF1258D1-0C65-492A-BD6D-550183F4689C}"/>
                </a:ext>
              </a:extLst>
            </p:cNvPr>
            <p:cNvSpPr>
              <a:spLocks/>
            </p:cNvSpPr>
            <p:nvPr/>
          </p:nvSpPr>
          <p:spPr bwMode="black">
            <a:xfrm>
              <a:off x="1388797" y="724571"/>
              <a:ext cx="82550" cy="3587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a:extLst>
                <a:ext uri="{FF2B5EF4-FFF2-40B4-BE49-F238E27FC236}">
                  <a16:creationId xmlns:a16="http://schemas.microsoft.com/office/drawing/2014/main" id="{A7A42B7E-FF27-430E-84FA-D09724FEDCB0}"/>
                </a:ext>
              </a:extLst>
            </p:cNvPr>
            <p:cNvSpPr>
              <a:spLocks noEditPoints="1"/>
            </p:cNvSpPr>
            <p:nvPr/>
          </p:nvSpPr>
          <p:spPr bwMode="black">
            <a:xfrm>
              <a:off x="149039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2">
              <a:extLst>
                <a:ext uri="{FF2B5EF4-FFF2-40B4-BE49-F238E27FC236}">
                  <a16:creationId xmlns:a16="http://schemas.microsoft.com/office/drawing/2014/main" id="{10FA4BA4-7562-4CE0-BC09-DD5254EBA917}"/>
                </a:ext>
              </a:extLst>
            </p:cNvPr>
            <p:cNvSpPr>
              <a:spLocks/>
            </p:cNvSpPr>
            <p:nvPr/>
          </p:nvSpPr>
          <p:spPr bwMode="black">
            <a:xfrm>
              <a:off x="1784084" y="829346"/>
              <a:ext cx="134937" cy="24765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a:extLst>
                <a:ext uri="{FF2B5EF4-FFF2-40B4-BE49-F238E27FC236}">
                  <a16:creationId xmlns:a16="http://schemas.microsoft.com/office/drawing/2014/main" id="{0CB8784E-B4F2-4126-9705-70EFC852B52F}"/>
                </a:ext>
              </a:extLst>
            </p:cNvPr>
            <p:cNvSpPr>
              <a:spLocks noEditPoints="1"/>
            </p:cNvSpPr>
            <p:nvPr/>
          </p:nvSpPr>
          <p:spPr bwMode="black">
            <a:xfrm>
              <a:off x="1095109"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a:extLst>
                <a:ext uri="{FF2B5EF4-FFF2-40B4-BE49-F238E27FC236}">
                  <a16:creationId xmlns:a16="http://schemas.microsoft.com/office/drawing/2014/main" id="{A139322D-9750-4D9C-B297-D7D8F4640B72}"/>
                </a:ext>
              </a:extLst>
            </p:cNvPr>
            <p:cNvSpPr>
              <a:spLocks noEditPoints="1"/>
            </p:cNvSpPr>
            <p:nvPr/>
          </p:nvSpPr>
          <p:spPr bwMode="black">
            <a:xfrm>
              <a:off x="192854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a:extLst>
                <a:ext uri="{FF2B5EF4-FFF2-40B4-BE49-F238E27FC236}">
                  <a16:creationId xmlns:a16="http://schemas.microsoft.com/office/drawing/2014/main" id="{5DF403B2-83ED-4CAA-93E4-D31E78BFAB93}"/>
                </a:ext>
              </a:extLst>
            </p:cNvPr>
            <p:cNvSpPr>
              <a:spLocks/>
            </p:cNvSpPr>
            <p:nvPr/>
          </p:nvSpPr>
          <p:spPr bwMode="black">
            <a:xfrm>
              <a:off x="774434" y="951584"/>
              <a:ext cx="92075" cy="123825"/>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a:extLst>
                <a:ext uri="{FF2B5EF4-FFF2-40B4-BE49-F238E27FC236}">
                  <a16:creationId xmlns:a16="http://schemas.microsoft.com/office/drawing/2014/main" id="{83F45BB5-DB16-41DD-A30B-E1379F8E0024}"/>
                </a:ext>
              </a:extLst>
            </p:cNvPr>
            <p:cNvSpPr>
              <a:spLocks/>
            </p:cNvSpPr>
            <p:nvPr/>
          </p:nvSpPr>
          <p:spPr bwMode="black">
            <a:xfrm>
              <a:off x="828409" y="834109"/>
              <a:ext cx="271462" cy="241300"/>
            </a:xfrm>
            <a:custGeom>
              <a:avLst/>
              <a:gdLst>
                <a:gd name="T0" fmla="*/ 134 w 171"/>
                <a:gd name="T1" fmla="*/ 0 h 152"/>
                <a:gd name="T2" fmla="*/ 87 w 171"/>
                <a:gd name="T3" fmla="*/ 112 h 152"/>
                <a:gd name="T4" fmla="*/ 86 w 171"/>
                <a:gd name="T5" fmla="*/ 112 h 152"/>
                <a:gd name="T6" fmla="*/ 86 w 171"/>
                <a:gd name="T7" fmla="*/ 112 h 152"/>
                <a:gd name="T8" fmla="*/ 86 w 171"/>
                <a:gd name="T9" fmla="*/ 112 h 152"/>
                <a:gd name="T10" fmla="*/ 86 w 171"/>
                <a:gd name="T11" fmla="*/ 112 h 152"/>
                <a:gd name="T12" fmla="*/ 85 w 171"/>
                <a:gd name="T13" fmla="*/ 112 h 152"/>
                <a:gd name="T14" fmla="*/ 85 w 171"/>
                <a:gd name="T15" fmla="*/ 112 h 152"/>
                <a:gd name="T16" fmla="*/ 85 w 171"/>
                <a:gd name="T17" fmla="*/ 112 h 152"/>
                <a:gd name="T18" fmla="*/ 37 w 171"/>
                <a:gd name="T19" fmla="*/ 0 h 152"/>
                <a:gd name="T20" fmla="*/ 0 w 171"/>
                <a:gd name="T21" fmla="*/ 0 h 152"/>
                <a:gd name="T22" fmla="*/ 68 w 171"/>
                <a:gd name="T23" fmla="*/ 152 h 152"/>
                <a:gd name="T24" fmla="*/ 68 w 171"/>
                <a:gd name="T25" fmla="*/ 152 h 152"/>
                <a:gd name="T26" fmla="*/ 69 w 171"/>
                <a:gd name="T27" fmla="*/ 152 h 152"/>
                <a:gd name="T28" fmla="*/ 103 w 171"/>
                <a:gd name="T29" fmla="*/ 152 h 152"/>
                <a:gd name="T30" fmla="*/ 103 w 171"/>
                <a:gd name="T31" fmla="*/ 152 h 152"/>
                <a:gd name="T32" fmla="*/ 103 w 171"/>
                <a:gd name="T33" fmla="*/ 152 h 152"/>
                <a:gd name="T34" fmla="*/ 171 w 171"/>
                <a:gd name="T35" fmla="*/ 0 h 152"/>
                <a:gd name="T36" fmla="*/ 134 w 171"/>
                <a:gd name="T3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152">
                  <a:moveTo>
                    <a:pt x="134" y="0"/>
                  </a:moveTo>
                  <a:lnTo>
                    <a:pt x="87" y="112"/>
                  </a:lnTo>
                  <a:lnTo>
                    <a:pt x="86" y="112"/>
                  </a:lnTo>
                  <a:lnTo>
                    <a:pt x="86" y="112"/>
                  </a:lnTo>
                  <a:lnTo>
                    <a:pt x="86" y="112"/>
                  </a:lnTo>
                  <a:lnTo>
                    <a:pt x="86" y="112"/>
                  </a:lnTo>
                  <a:lnTo>
                    <a:pt x="85" y="112"/>
                  </a:lnTo>
                  <a:lnTo>
                    <a:pt x="85" y="112"/>
                  </a:lnTo>
                  <a:lnTo>
                    <a:pt x="85" y="112"/>
                  </a:lnTo>
                  <a:lnTo>
                    <a:pt x="37" y="0"/>
                  </a:lnTo>
                  <a:lnTo>
                    <a:pt x="0" y="0"/>
                  </a:lnTo>
                  <a:lnTo>
                    <a:pt x="68" y="152"/>
                  </a:lnTo>
                  <a:lnTo>
                    <a:pt x="68" y="152"/>
                  </a:lnTo>
                  <a:lnTo>
                    <a:pt x="69" y="152"/>
                  </a:lnTo>
                  <a:lnTo>
                    <a:pt x="103" y="152"/>
                  </a:lnTo>
                  <a:lnTo>
                    <a:pt x="103" y="152"/>
                  </a:lnTo>
                  <a:lnTo>
                    <a:pt x="103" y="152"/>
                  </a:lnTo>
                  <a:lnTo>
                    <a:pt x="171" y="0"/>
                  </a:lnTo>
                  <a:lnTo>
                    <a:pt x="13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
              <a:extLst>
                <a:ext uri="{FF2B5EF4-FFF2-40B4-BE49-F238E27FC236}">
                  <a16:creationId xmlns:a16="http://schemas.microsoft.com/office/drawing/2014/main" id="{58592A44-5C38-4E7B-8D78-D2B507B8C1B5}"/>
                </a:ext>
              </a:extLst>
            </p:cNvPr>
            <p:cNvSpPr>
              <a:spLocks/>
            </p:cNvSpPr>
            <p:nvPr/>
          </p:nvSpPr>
          <p:spPr bwMode="black">
            <a:xfrm>
              <a:off x="531547" y="737271"/>
              <a:ext cx="247650" cy="338138"/>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256848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bwMode="black"/>
        <p:txBody>
          <a:bodyPr/>
          <a:lstStyle/>
          <a:p>
            <a:fld id="{0D76ED6D-61E4-47B1-B71F-B65993433194}" type="slidenum">
              <a:rPr lang="en-US" smtClean="0"/>
              <a:t>‹#›</a:t>
            </a:fld>
            <a:endParaRPr lang="en-US" dirty="0"/>
          </a:p>
        </p:txBody>
      </p:sp>
      <p:pic>
        <p:nvPicPr>
          <p:cNvPr id="8" name="Picture 7">
            <a:extLst>
              <a:ext uri="{FF2B5EF4-FFF2-40B4-BE49-F238E27FC236}">
                <a16:creationId xmlns:a16="http://schemas.microsoft.com/office/drawing/2014/main" id="{454024BC-30D6-4056-BA54-119650BED7E2}"/>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bwMode="white">
          <a:xfrm>
            <a:off x="0" y="0"/>
            <a:ext cx="3475101" cy="6858000"/>
          </a:xfrm>
          <a:prstGeom prst="rect">
            <a:avLst/>
          </a:prstGeom>
        </p:spPr>
      </p:pic>
      <p:sp>
        <p:nvSpPr>
          <p:cNvPr id="9" name="TextBox 8">
            <a:extLst>
              <a:ext uri="{FF2B5EF4-FFF2-40B4-BE49-F238E27FC236}">
                <a16:creationId xmlns:a16="http://schemas.microsoft.com/office/drawing/2014/main" id="{0DA40716-B424-4EB3-8CF3-63D20A28EABF}"/>
              </a:ext>
            </a:extLst>
          </p:cNvPr>
          <p:cNvSpPr txBox="1"/>
          <p:nvPr userDrawn="1"/>
        </p:nvSpPr>
        <p:spPr bwMode="black">
          <a:xfrm>
            <a:off x="353250" y="625293"/>
            <a:ext cx="2768600" cy="738664"/>
          </a:xfrm>
          <a:prstGeom prst="rect">
            <a:avLst/>
          </a:prstGeom>
          <a:noFill/>
        </p:spPr>
        <p:txBody>
          <a:bodyPr wrap="square" lIns="0" tIns="0" rIns="0" bIns="0" rtlCol="0">
            <a:spAutoFit/>
          </a:bodyPr>
          <a:lstStyle/>
          <a:p>
            <a:pPr lvl="0" algn="ctr">
              <a:spcBef>
                <a:spcPts val="1000"/>
              </a:spcBef>
            </a:pPr>
            <a:r>
              <a:rPr lang="en-US" sz="4800" dirty="0">
                <a:solidFill>
                  <a:schemeClr val="bg1"/>
                </a:solidFill>
              </a:rPr>
              <a:t>Agenda</a:t>
            </a:r>
          </a:p>
        </p:txBody>
      </p:sp>
      <p:sp>
        <p:nvSpPr>
          <p:cNvPr id="56" name="Text Placeholder 55">
            <a:extLst>
              <a:ext uri="{FF2B5EF4-FFF2-40B4-BE49-F238E27FC236}">
                <a16:creationId xmlns:a16="http://schemas.microsoft.com/office/drawing/2014/main" id="{9CF0B1C6-C439-4B34-8C5F-00CBA00E6EE2}"/>
              </a:ext>
            </a:extLst>
          </p:cNvPr>
          <p:cNvSpPr>
            <a:spLocks noGrp="1"/>
          </p:cNvSpPr>
          <p:nvPr>
            <p:ph type="body" sz="quarter" idx="13" hasCustomPrompt="1"/>
          </p:nvPr>
        </p:nvSpPr>
        <p:spPr bwMode="black">
          <a:xfrm>
            <a:off x="3759200" y="2037854"/>
            <a:ext cx="7747001" cy="4008014"/>
          </a:xfrm>
        </p:spPr>
        <p:txBody>
          <a:bodyPr anchor="t">
            <a:normAutofit/>
          </a:bodyPr>
          <a:lstStyle>
            <a:lvl1pPr marL="274320" indent="-274320">
              <a:spcBef>
                <a:spcPts val="2400"/>
              </a:spcBef>
              <a:buFontTx/>
              <a:buBlip>
                <a:blip r:embed="rId3"/>
              </a:buBlip>
              <a:defRPr sz="2800"/>
            </a:lvl1pPr>
            <a:lvl2pPr marL="137160" indent="0">
              <a:buNone/>
              <a:defRPr/>
            </a:lvl2pPr>
            <a:lvl3pPr marL="512763" indent="0">
              <a:buNone/>
              <a:defRPr/>
            </a:lvl3pPr>
            <a:lvl4pPr marL="858838" indent="0">
              <a:buNone/>
              <a:defRPr/>
            </a:lvl4pPr>
            <a:lvl5pPr>
              <a:buNone/>
              <a:defRPr/>
            </a:lvl5pPr>
          </a:lstStyle>
          <a:p>
            <a:pPr lvl="0"/>
            <a:r>
              <a:rPr lang="en-US" dirty="0"/>
              <a:t>Agenda one</a:t>
            </a:r>
          </a:p>
          <a:p>
            <a:pPr lvl="0"/>
            <a:r>
              <a:rPr lang="en-US" dirty="0"/>
              <a:t>Agenda two</a:t>
            </a:r>
          </a:p>
          <a:p>
            <a:pPr lvl="0"/>
            <a:r>
              <a:rPr lang="en-US" dirty="0"/>
              <a:t>Agenda three</a:t>
            </a:r>
          </a:p>
          <a:p>
            <a:pPr lvl="0"/>
            <a:r>
              <a:rPr lang="en-US" dirty="0"/>
              <a:t>Agenda four</a:t>
            </a:r>
          </a:p>
          <a:p>
            <a:pPr lvl="0"/>
            <a:r>
              <a:rPr lang="en-US" dirty="0"/>
              <a:t>Agenda five</a:t>
            </a:r>
          </a:p>
        </p:txBody>
      </p:sp>
      <p:sp>
        <p:nvSpPr>
          <p:cNvPr id="65" name="Text Placeholder 55">
            <a:extLst>
              <a:ext uri="{FF2B5EF4-FFF2-40B4-BE49-F238E27FC236}">
                <a16:creationId xmlns:a16="http://schemas.microsoft.com/office/drawing/2014/main" id="{A1A0463E-F82B-45D2-8791-9DCFC617854A}"/>
              </a:ext>
            </a:extLst>
          </p:cNvPr>
          <p:cNvSpPr>
            <a:spLocks noGrp="1"/>
          </p:cNvSpPr>
          <p:nvPr>
            <p:ph type="body" sz="quarter" idx="14" hasCustomPrompt="1"/>
          </p:nvPr>
        </p:nvSpPr>
        <p:spPr bwMode="black">
          <a:xfrm>
            <a:off x="2228127" y="2037854"/>
            <a:ext cx="833377" cy="4008014"/>
          </a:xfrm>
        </p:spPr>
        <p:txBody>
          <a:bodyPr anchor="t">
            <a:normAutofit/>
          </a:bodyPr>
          <a:lstStyle>
            <a:lvl1pPr marL="0" indent="0" algn="r">
              <a:spcBef>
                <a:spcPts val="2400"/>
              </a:spcBef>
              <a:buFont typeface="Arial" panose="020B0604020202020204" pitchFamily="34" charset="0"/>
              <a:buNone/>
              <a:defRPr sz="2800" b="0">
                <a:solidFill>
                  <a:schemeClr val="bg1"/>
                </a:solidFill>
                <a:latin typeface="+mj-lt"/>
                <a:ea typeface="Verdana" panose="020B0604030504040204" pitchFamily="34" charset="0"/>
                <a:cs typeface="Calibri" panose="020F0502020204030204" pitchFamily="34" charset="0"/>
              </a:defRPr>
            </a:lvl1pPr>
            <a:lvl2pPr marL="137160" indent="0">
              <a:buNone/>
              <a:defRPr/>
            </a:lvl2pPr>
            <a:lvl3pPr marL="512763" indent="0">
              <a:buNone/>
              <a:defRPr/>
            </a:lvl3pPr>
            <a:lvl4pPr marL="858838" indent="0">
              <a:buNone/>
              <a:defRPr/>
            </a:lvl4pPr>
            <a:lvl5pPr>
              <a:buNone/>
              <a:defRPr/>
            </a:lvl5pPr>
          </a:lstStyle>
          <a:p>
            <a:pPr lvl="0"/>
            <a:r>
              <a:rPr lang="en-US" dirty="0"/>
              <a:t>#</a:t>
            </a:r>
          </a:p>
          <a:p>
            <a:pPr lvl="0"/>
            <a:r>
              <a:rPr lang="en-US" dirty="0"/>
              <a:t>#</a:t>
            </a:r>
          </a:p>
          <a:p>
            <a:pPr lvl="0"/>
            <a:r>
              <a:rPr lang="en-US" dirty="0"/>
              <a:t>#</a:t>
            </a:r>
          </a:p>
          <a:p>
            <a:pPr lvl="0"/>
            <a:r>
              <a:rPr lang="en-US" dirty="0"/>
              <a:t>#</a:t>
            </a:r>
          </a:p>
          <a:p>
            <a:pPr lvl="0"/>
            <a:r>
              <a:rPr lang="en-US" dirty="0"/>
              <a:t>#</a:t>
            </a:r>
          </a:p>
        </p:txBody>
      </p:sp>
    </p:spTree>
    <p:extLst>
      <p:ext uri="{BB962C8B-B14F-4D97-AF65-F5344CB8AC3E}">
        <p14:creationId xmlns:p14="http://schemas.microsoft.com/office/powerpoint/2010/main" val="3861546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Text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11011719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gue Text -  Warm Grey">
    <p:bg>
      <p:bgPr>
        <a:solidFill>
          <a:schemeClr val="bg1"/>
        </a:solidFill>
        <a:effectLst/>
      </p:bgPr>
    </p:bg>
    <p:spTree>
      <p:nvGrpSpPr>
        <p:cNvPr id="1" name=""/>
        <p:cNvGrpSpPr/>
        <p:nvPr/>
      </p:nvGrpSpPr>
      <p:grpSpPr>
        <a:xfrm>
          <a:off x="0" y="0"/>
          <a:ext cx="0" cy="0"/>
          <a:chOff x="0" y="0"/>
          <a:chExt cx="0" cy="0"/>
        </a:xfrm>
      </p:grpSpPr>
      <p:pic>
        <p:nvPicPr>
          <p:cNvPr id="6" name="Picture 5" descr="A close up of a logo&#10;&#10;Description generated with high confidence">
            <a:extLst>
              <a:ext uri="{FF2B5EF4-FFF2-40B4-BE49-F238E27FC236}">
                <a16:creationId xmlns:a16="http://schemas.microsoft.com/office/drawing/2014/main" id="{D2F78CA7-3BBA-4722-B893-D45F638AB0A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40870914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gue Text - Purp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83C1D7-FEF0-42E5-961C-19877943BC7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737555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Text - Min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A31ACE-6333-4F03-9661-B9C7F328D20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dirty="0"/>
              <a:t>Click to edit Master title style</a:t>
            </a:r>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907460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BE732A-BF0B-4800-B01F-2EBC3AE2698B}"/>
              </a:ext>
            </a:extLst>
          </p:cNvPr>
          <p:cNvSpPr>
            <a:spLocks noGrp="1"/>
          </p:cNvSpPr>
          <p:nvPr>
            <p:ph type="body" idx="1"/>
          </p:nvPr>
        </p:nvSpPr>
        <p:spPr>
          <a:xfrm>
            <a:off x="685800" y="1930400"/>
            <a:ext cx="10820400" cy="3962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itle Placeholder 1">
            <a:extLst>
              <a:ext uri="{FF2B5EF4-FFF2-40B4-BE49-F238E27FC236}">
                <a16:creationId xmlns:a16="http://schemas.microsoft.com/office/drawing/2014/main" id="{67295672-CA15-419E-A262-354AAE829E73}"/>
              </a:ext>
            </a:extLst>
          </p:cNvPr>
          <p:cNvSpPr>
            <a:spLocks noGrp="1"/>
          </p:cNvSpPr>
          <p:nvPr>
            <p:ph type="title"/>
          </p:nvPr>
        </p:nvSpPr>
        <p:spPr>
          <a:xfrm>
            <a:off x="685800" y="570707"/>
            <a:ext cx="10820400" cy="498598"/>
          </a:xfrm>
          <a:prstGeom prst="rect">
            <a:avLst/>
          </a:prstGeom>
        </p:spPr>
        <p:txBody>
          <a:bodyPr vert="horz" lIns="0" tIns="0" rIns="0" bIns="0" rtlCol="0" anchor="t">
            <a:spAutoFit/>
          </a:bodyPr>
          <a:lstStyle/>
          <a:p>
            <a:r>
              <a:rPr lang="en-US" dirty="0"/>
              <a:t>Click to edit  Master title style</a:t>
            </a:r>
          </a:p>
        </p:txBody>
      </p:sp>
      <p:sp>
        <p:nvSpPr>
          <p:cNvPr id="4" name="Date Placeholder 3">
            <a:extLst>
              <a:ext uri="{FF2B5EF4-FFF2-40B4-BE49-F238E27FC236}">
                <a16:creationId xmlns:a16="http://schemas.microsoft.com/office/drawing/2014/main" id="{11043E7E-CE99-4846-BDA0-C4E0960E088F}"/>
              </a:ext>
            </a:extLst>
          </p:cNvPr>
          <p:cNvSpPr>
            <a:spLocks noGrp="1"/>
          </p:cNvSpPr>
          <p:nvPr>
            <p:ph type="dt" sz="half" idx="2"/>
          </p:nvPr>
        </p:nvSpPr>
        <p:spPr>
          <a:xfrm>
            <a:off x="4994275" y="6458833"/>
            <a:ext cx="2203450" cy="184666"/>
          </a:xfrm>
          <a:prstGeom prst="rect">
            <a:avLst/>
          </a:prstGeom>
        </p:spPr>
        <p:txBody>
          <a:bodyPr vert="horz" wrap="none" lIns="0" tIns="0" rIns="0" bIns="0" rtlCol="0" anchor="b">
            <a:noAutofit/>
          </a:bodyPr>
          <a:lstStyle>
            <a:lvl1pPr algn="ctr">
              <a:defRPr sz="900">
                <a:solidFill>
                  <a:srgbClr val="BCB8BC"/>
                </a:solidFill>
              </a:defRPr>
            </a:lvl1pPr>
          </a:lstStyle>
          <a:p>
            <a:fld id="{7FB6405C-B8D3-4FA8-86AB-02E12E881403}" type="datetime1">
              <a:rPr lang="en-US" smtClean="0"/>
              <a:t>7/16/2019</a:t>
            </a:fld>
            <a:endParaRPr lang="en-US" dirty="0"/>
          </a:p>
        </p:txBody>
      </p:sp>
      <p:sp>
        <p:nvSpPr>
          <p:cNvPr id="5" name="Footer Placeholder 4">
            <a:extLst>
              <a:ext uri="{FF2B5EF4-FFF2-40B4-BE49-F238E27FC236}">
                <a16:creationId xmlns:a16="http://schemas.microsoft.com/office/drawing/2014/main" id="{F89C7C58-1870-45FA-9D88-F277568C9256}"/>
              </a:ext>
            </a:extLst>
          </p:cNvPr>
          <p:cNvSpPr>
            <a:spLocks noGrp="1"/>
          </p:cNvSpPr>
          <p:nvPr>
            <p:ph type="ftr" sz="quarter" idx="3"/>
          </p:nvPr>
        </p:nvSpPr>
        <p:spPr>
          <a:xfrm>
            <a:off x="685800" y="6458833"/>
            <a:ext cx="4114800" cy="184666"/>
          </a:xfrm>
          <a:prstGeom prst="rect">
            <a:avLst/>
          </a:prstGeom>
        </p:spPr>
        <p:txBody>
          <a:bodyPr vert="horz" wrap="none" lIns="0" tIns="0" rIns="0" bIns="0" rtlCol="0" anchor="b">
            <a:noAutofit/>
          </a:bodyPr>
          <a:lstStyle>
            <a:lvl1pPr algn="l">
              <a:defRPr sz="900">
                <a:solidFill>
                  <a:srgbClr val="BCB8BC"/>
                </a:solidFill>
              </a:defRPr>
            </a:lvl1pPr>
          </a:lstStyle>
          <a:p>
            <a:r>
              <a:rPr lang="en-US" dirty="0"/>
              <a:t>©Avalara. Confidential and proprietary.</a:t>
            </a:r>
          </a:p>
        </p:txBody>
      </p:sp>
      <p:sp>
        <p:nvSpPr>
          <p:cNvPr id="6" name="Slide Number Placeholder 5">
            <a:extLst>
              <a:ext uri="{FF2B5EF4-FFF2-40B4-BE49-F238E27FC236}">
                <a16:creationId xmlns:a16="http://schemas.microsoft.com/office/drawing/2014/main" id="{C8BEF8FA-3E55-43D5-B78D-CFD62B56AD0D}"/>
              </a:ext>
            </a:extLst>
          </p:cNvPr>
          <p:cNvSpPr>
            <a:spLocks noGrp="1"/>
          </p:cNvSpPr>
          <p:nvPr>
            <p:ph type="sldNum" sz="quarter" idx="4"/>
          </p:nvPr>
        </p:nvSpPr>
        <p:spPr>
          <a:xfrm>
            <a:off x="10575924" y="6458833"/>
            <a:ext cx="930275" cy="184666"/>
          </a:xfrm>
          <a:prstGeom prst="rect">
            <a:avLst/>
          </a:prstGeom>
        </p:spPr>
        <p:txBody>
          <a:bodyPr vert="horz" wrap="none" lIns="0" tIns="0" rIns="0" bIns="0" rtlCol="0" anchor="b">
            <a:noAutofit/>
          </a:bodyPr>
          <a:lstStyle>
            <a:lvl1pPr algn="r">
              <a:defRPr sz="900">
                <a:solidFill>
                  <a:srgbClr val="BCB8BC"/>
                </a:solidFill>
              </a:defRPr>
            </a:lvl1pPr>
          </a:lstStyle>
          <a:p>
            <a:fld id="{C7927A04-FFAB-4E77-8A60-75CB67674673}" type="slidenum">
              <a:rPr lang="en-US" smtClean="0"/>
              <a:pPr/>
              <a:t>‹#›</a:t>
            </a:fld>
            <a:endParaRPr lang="en-US" dirty="0"/>
          </a:p>
        </p:txBody>
      </p:sp>
    </p:spTree>
    <p:extLst>
      <p:ext uri="{BB962C8B-B14F-4D97-AF65-F5344CB8AC3E}">
        <p14:creationId xmlns:p14="http://schemas.microsoft.com/office/powerpoint/2010/main" val="1972264382"/>
      </p:ext>
    </p:extLst>
  </p:cSld>
  <p:clrMap bg1="lt1" tx1="dk1" bg2="lt2" tx2="dk2" accent1="accent1" accent2="accent2" accent3="accent3" accent4="accent4" accent5="accent5" accent6="accent6" hlink="hlink" folHlink="folHlink"/>
  <p:sldLayoutIdLst>
    <p:sldLayoutId id="2147483697" r:id="rId1"/>
    <p:sldLayoutId id="2147483663" r:id="rId2"/>
    <p:sldLayoutId id="2147483677" r:id="rId3"/>
    <p:sldLayoutId id="2147483675" r:id="rId4"/>
    <p:sldLayoutId id="2147483678" r:id="rId5"/>
    <p:sldLayoutId id="2147483679" r:id="rId6"/>
    <p:sldLayoutId id="2147483704" r:id="rId7"/>
    <p:sldLayoutId id="2147483706" r:id="rId8"/>
    <p:sldLayoutId id="2147483705" r:id="rId9"/>
    <p:sldLayoutId id="2147483710" r:id="rId10"/>
    <p:sldLayoutId id="2147483680" r:id="rId11"/>
    <p:sldLayoutId id="2147483712" r:id="rId12"/>
    <p:sldLayoutId id="2147483713" r:id="rId13"/>
    <p:sldLayoutId id="2147483714" r:id="rId14"/>
    <p:sldLayoutId id="2147483715" r:id="rId15"/>
    <p:sldLayoutId id="2147483664" r:id="rId16"/>
    <p:sldLayoutId id="2147483683" r:id="rId17"/>
    <p:sldLayoutId id="2147483693" r:id="rId18"/>
    <p:sldLayoutId id="2147483694" r:id="rId19"/>
    <p:sldLayoutId id="2147483684" r:id="rId20"/>
    <p:sldLayoutId id="2147483703" r:id="rId21"/>
    <p:sldLayoutId id="2147483685" r:id="rId22"/>
    <p:sldLayoutId id="2147483686" r:id="rId23"/>
    <p:sldLayoutId id="2147483687" r:id="rId24"/>
    <p:sldLayoutId id="2147483688" r:id="rId25"/>
    <p:sldLayoutId id="2147483698" r:id="rId26"/>
    <p:sldLayoutId id="2147483702" r:id="rId27"/>
    <p:sldLayoutId id="2147483655" r:id="rId28"/>
    <p:sldLayoutId id="2147483691" r:id="rId29"/>
    <p:sldLayoutId id="2147483695" r:id="rId30"/>
    <p:sldLayoutId id="2147483696" r:id="rId31"/>
    <p:sldLayoutId id="2147483692" r:id="rId32"/>
    <p:sldLayoutId id="2147483701" r:id="rId33"/>
    <p:sldLayoutId id="2147483689" r:id="rId34"/>
    <p:sldLayoutId id="2147483660" r:id="rId35"/>
    <p:sldLayoutId id="2147483716" r:id="rId36"/>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2.png"/><Relationship Id="rId7"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8.gif"/><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34F76BF-6581-4489-B284-06AEAABF72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76ED6D-61E4-47B1-B71F-B65993433194}" type="slidenum">
              <a:rPr kumimoji="0" lang="en-US" sz="900" b="0" i="0" u="none" strike="noStrike" kern="1200" cap="none" spc="0" normalizeH="0" baseline="0" noProof="0" smtClean="0">
                <a:ln>
                  <a:noFill/>
                </a:ln>
                <a:solidFill>
                  <a:srgbClr val="BCB8BC"/>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BCB8BC"/>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3164D5ED-178A-49AE-8D59-D1B31E42A77F}"/>
              </a:ext>
            </a:extLst>
          </p:cNvPr>
          <p:cNvSpPr>
            <a:spLocks noGrp="1"/>
          </p:cNvSpPr>
          <p:nvPr>
            <p:ph type="body" sz="quarter" idx="14"/>
          </p:nvPr>
        </p:nvSpPr>
        <p:spPr>
          <a:xfrm>
            <a:off x="4406899" y="3372619"/>
            <a:ext cx="6511925" cy="1682512"/>
          </a:xfrm>
        </p:spPr>
        <p:txBody>
          <a:bodyPr/>
          <a:lstStyle/>
          <a:p>
            <a:r>
              <a:rPr lang="en-US" sz="4800" dirty="0"/>
              <a:t>SEATA 2019</a:t>
            </a:r>
          </a:p>
          <a:p>
            <a:r>
              <a:rPr lang="en-US" sz="4800" dirty="0"/>
              <a:t>Orlando – July 16, 2019</a:t>
            </a:r>
          </a:p>
        </p:txBody>
      </p:sp>
      <p:sp>
        <p:nvSpPr>
          <p:cNvPr id="5" name="Text Placeholder 4">
            <a:extLst>
              <a:ext uri="{FF2B5EF4-FFF2-40B4-BE49-F238E27FC236}">
                <a16:creationId xmlns:a16="http://schemas.microsoft.com/office/drawing/2014/main" id="{27352324-3013-4496-AE49-04A05E9E072E}"/>
              </a:ext>
            </a:extLst>
          </p:cNvPr>
          <p:cNvSpPr>
            <a:spLocks noGrp="1"/>
          </p:cNvSpPr>
          <p:nvPr>
            <p:ph type="body" sz="quarter" idx="15"/>
          </p:nvPr>
        </p:nvSpPr>
        <p:spPr/>
        <p:txBody>
          <a:bodyPr/>
          <a:lstStyle/>
          <a:p>
            <a:endParaRPr lang="en-US" dirty="0"/>
          </a:p>
        </p:txBody>
      </p:sp>
    </p:spTree>
    <p:extLst>
      <p:ext uri="{BB962C8B-B14F-4D97-AF65-F5344CB8AC3E}">
        <p14:creationId xmlns:p14="http://schemas.microsoft.com/office/powerpoint/2010/main" val="405705970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C588CF-07DC-4D31-AC61-845CCC53F15E}"/>
              </a:ext>
            </a:extLst>
          </p:cNvPr>
          <p:cNvSpPr>
            <a:spLocks noGrp="1"/>
          </p:cNvSpPr>
          <p:nvPr>
            <p:ph idx="1"/>
          </p:nvPr>
        </p:nvSpPr>
        <p:spPr>
          <a:xfrm>
            <a:off x="516988" y="1539215"/>
            <a:ext cx="5665763" cy="5034670"/>
          </a:xfrm>
        </p:spPr>
        <p:txBody>
          <a:bodyPr/>
          <a:lstStyle/>
          <a:p>
            <a:pPr>
              <a:buNone/>
            </a:pPr>
            <a:r>
              <a:rPr lang="en-US" sz="2400" b="1" dirty="0"/>
              <a:t>Benefits</a:t>
            </a:r>
          </a:p>
          <a:p>
            <a:pPr marL="171450" indent="-171450">
              <a:buFont typeface="Wingdings" panose="05000000000000000000" pitchFamily="2" charset="2"/>
              <a:buChar char="q"/>
            </a:pPr>
            <a:r>
              <a:rPr lang="en-US" sz="2400" dirty="0"/>
              <a:t> One lump sum payment to the state; as opposed to hundreds of thousand debits</a:t>
            </a:r>
          </a:p>
          <a:p>
            <a:pPr marL="171450" indent="-171450">
              <a:buFont typeface="Wingdings" panose="05000000000000000000" pitchFamily="2" charset="2"/>
              <a:buChar char="q"/>
            </a:pPr>
            <a:r>
              <a:rPr lang="en-US" sz="2400" dirty="0"/>
              <a:t> Reduce payment friction</a:t>
            </a:r>
          </a:p>
          <a:p>
            <a:pPr marL="171450" indent="-171450">
              <a:buFont typeface="Wingdings" panose="05000000000000000000" pitchFamily="2" charset="2"/>
              <a:buChar char="q"/>
            </a:pPr>
            <a:r>
              <a:rPr lang="en-US" sz="2400" dirty="0"/>
              <a:t> Reduced fraud opportunities </a:t>
            </a:r>
          </a:p>
          <a:p>
            <a:pPr marL="171450" indent="-171450">
              <a:buFont typeface="Wingdings" panose="05000000000000000000" pitchFamily="2" charset="2"/>
              <a:buChar char="q"/>
            </a:pPr>
            <a:r>
              <a:rPr lang="en-US" sz="2400" dirty="0"/>
              <a:t> Environmentally friendly, as opposed to paper checks</a:t>
            </a:r>
          </a:p>
          <a:p>
            <a:pPr marL="171450" indent="-171450">
              <a:buFont typeface="Wingdings" panose="05000000000000000000" pitchFamily="2" charset="2"/>
              <a:buChar char="q"/>
            </a:pPr>
            <a:r>
              <a:rPr lang="en-US" sz="2400" dirty="0"/>
              <a:t> Streamline payment cycle</a:t>
            </a:r>
          </a:p>
          <a:p>
            <a:pPr marL="171450" indent="-171450">
              <a:buFont typeface="Wingdings" panose="05000000000000000000" pitchFamily="2" charset="2"/>
              <a:buChar char="q"/>
            </a:pPr>
            <a:r>
              <a:rPr lang="en-US" sz="2400" dirty="0"/>
              <a:t> Financial controls over all payments</a:t>
            </a:r>
          </a:p>
          <a:p>
            <a:pPr marL="512763" lvl="1" indent="-342900">
              <a:buFont typeface="Wingdings" panose="05000000000000000000" pitchFamily="2" charset="2"/>
              <a:buChar char="ü"/>
            </a:pPr>
            <a:r>
              <a:rPr lang="en-US" sz="2400" dirty="0"/>
              <a:t> Accuracy</a:t>
            </a:r>
          </a:p>
          <a:p>
            <a:pPr marL="512763" lvl="1" indent="-342900">
              <a:buFont typeface="Wingdings" panose="05000000000000000000" pitchFamily="2" charset="2"/>
              <a:buChar char="ü"/>
            </a:pPr>
            <a:r>
              <a:rPr lang="en-US" sz="2400" dirty="0"/>
              <a:t> Speed – delivery of payments</a:t>
            </a:r>
          </a:p>
        </p:txBody>
      </p:sp>
      <p:sp>
        <p:nvSpPr>
          <p:cNvPr id="4" name="Footer Placeholder 3">
            <a:extLst>
              <a:ext uri="{FF2B5EF4-FFF2-40B4-BE49-F238E27FC236}">
                <a16:creationId xmlns:a16="http://schemas.microsoft.com/office/drawing/2014/main" id="{E29FEAEE-5C98-428F-BFB2-EF0A8314710C}"/>
              </a:ext>
            </a:extLst>
          </p:cNvPr>
          <p:cNvSpPr>
            <a:spLocks noGrp="1"/>
          </p:cNvSpPr>
          <p:nvPr>
            <p:ph type="ftr" sz="quarter" idx="11"/>
          </p:nvPr>
        </p:nvSpPr>
        <p:spPr/>
        <p:txBody>
          <a:bodyPr/>
          <a:lstStyle/>
          <a:p>
            <a:r>
              <a:rPr lang="en-US"/>
              <a:t>©Avalara. Confidential and proprietary.</a:t>
            </a:r>
          </a:p>
        </p:txBody>
      </p:sp>
      <p:sp>
        <p:nvSpPr>
          <p:cNvPr id="5" name="Slide Number Placeholder 4">
            <a:extLst>
              <a:ext uri="{FF2B5EF4-FFF2-40B4-BE49-F238E27FC236}">
                <a16:creationId xmlns:a16="http://schemas.microsoft.com/office/drawing/2014/main" id="{CDDA6EAD-8AE7-412E-AC96-E5A836CC4388}"/>
              </a:ext>
            </a:extLst>
          </p:cNvPr>
          <p:cNvSpPr>
            <a:spLocks noGrp="1"/>
          </p:cNvSpPr>
          <p:nvPr>
            <p:ph type="sldNum" sz="quarter" idx="12"/>
          </p:nvPr>
        </p:nvSpPr>
        <p:spPr/>
        <p:txBody>
          <a:bodyPr/>
          <a:lstStyle/>
          <a:p>
            <a:fld id="{0D76ED6D-61E4-47B1-B71F-B65993433194}" type="slidenum">
              <a:rPr lang="en-US" smtClean="0"/>
              <a:t>10</a:t>
            </a:fld>
            <a:endParaRPr lang="en-US"/>
          </a:p>
        </p:txBody>
      </p:sp>
      <p:sp>
        <p:nvSpPr>
          <p:cNvPr id="7" name="Title 6">
            <a:extLst>
              <a:ext uri="{FF2B5EF4-FFF2-40B4-BE49-F238E27FC236}">
                <a16:creationId xmlns:a16="http://schemas.microsoft.com/office/drawing/2014/main" id="{A43F0DCF-E2AD-40BA-A5A9-78EB7EF9F34A}"/>
              </a:ext>
            </a:extLst>
          </p:cNvPr>
          <p:cNvSpPr>
            <a:spLocks noGrp="1"/>
          </p:cNvSpPr>
          <p:nvPr>
            <p:ph type="title"/>
          </p:nvPr>
        </p:nvSpPr>
        <p:spPr>
          <a:xfrm>
            <a:off x="516988" y="871048"/>
            <a:ext cx="10688514" cy="470668"/>
          </a:xfrm>
        </p:spPr>
        <p:txBody>
          <a:bodyPr>
            <a:normAutofit fontScale="90000"/>
          </a:bodyPr>
          <a:lstStyle/>
          <a:p>
            <a:r>
              <a:rPr lang="en-US" i="1" dirty="0"/>
              <a:t>ACH Credit Benefits / Risks</a:t>
            </a:r>
            <a:br>
              <a:rPr lang="en-US" i="1" dirty="0"/>
            </a:br>
            <a:endParaRPr lang="en-US" dirty="0"/>
          </a:p>
        </p:txBody>
      </p:sp>
      <p:sp>
        <p:nvSpPr>
          <p:cNvPr id="8" name="Content Placeholder 1">
            <a:extLst>
              <a:ext uri="{FF2B5EF4-FFF2-40B4-BE49-F238E27FC236}">
                <a16:creationId xmlns:a16="http://schemas.microsoft.com/office/drawing/2014/main" id="{2B2B8E8E-52C0-4E8D-8DBB-3BEEDEBCDD86}"/>
              </a:ext>
            </a:extLst>
          </p:cNvPr>
          <p:cNvSpPr txBox="1">
            <a:spLocks/>
          </p:cNvSpPr>
          <p:nvPr/>
        </p:nvSpPr>
        <p:spPr>
          <a:xfrm>
            <a:off x="6096001" y="1539216"/>
            <a:ext cx="5752514" cy="5034670"/>
          </a:xfrm>
          <a:prstGeom prst="rect">
            <a:avLst/>
          </a:prstGeom>
        </p:spPr>
        <p:txBody>
          <a:bodyPr vert="horz" lIns="0" tIns="0" rIns="0" bIns="0" rtlCol="0">
            <a:noAutofit/>
          </a:bodyPr>
          <a:lstStyle>
            <a:lvl1pPr marL="0" indent="0" algn="l" defTabSz="914400" rtl="0" eaLnBrk="1" latinLnBrk="0" hangingPunct="1">
              <a:lnSpc>
                <a:spcPct val="100000"/>
              </a:lnSpc>
              <a:spcBef>
                <a:spcPts val="900"/>
              </a:spcBef>
              <a:buClr>
                <a:srgbClr val="FC661E"/>
              </a:buClr>
              <a:buSzPct val="80000"/>
              <a:buFont typeface="Arial" panose="020B0604020202020204" pitchFamily="34" charset="0"/>
              <a:buChar char="​"/>
              <a:defRPr sz="1200" kern="1200">
                <a:solidFill>
                  <a:schemeClr val="tx1"/>
                </a:solidFill>
                <a:latin typeface="+mn-lt"/>
                <a:ea typeface="+mn-ea"/>
                <a:cs typeface="+mn-cs"/>
              </a:defRPr>
            </a:lvl1pPr>
            <a:lvl2pPr marL="169863" indent="-112713" algn="l" defTabSz="914400" rtl="0" eaLnBrk="1" latinLnBrk="0" hangingPunct="1">
              <a:lnSpc>
                <a:spcPct val="100000"/>
              </a:lnSpc>
              <a:spcBef>
                <a:spcPts val="600"/>
              </a:spcBef>
              <a:buClr>
                <a:srgbClr val="FC661E"/>
              </a:buClr>
              <a:buSzPct val="80000"/>
              <a:buFont typeface="Arial" panose="020B0604020202020204" pitchFamily="34" charset="0"/>
              <a:buChar char="•"/>
              <a:defRPr sz="1200" kern="1200">
                <a:solidFill>
                  <a:schemeClr val="tx1"/>
                </a:solidFill>
                <a:latin typeface="+mn-lt"/>
                <a:ea typeface="+mn-ea"/>
                <a:cs typeface="+mn-cs"/>
              </a:defRPr>
            </a:lvl2pPr>
            <a:lvl3pPr marL="401638" indent="-117475" algn="l" defTabSz="914400" rtl="0" eaLnBrk="1" latinLnBrk="0" hangingPunct="1">
              <a:lnSpc>
                <a:spcPct val="100000"/>
              </a:lnSpc>
              <a:spcBef>
                <a:spcPts val="600"/>
              </a:spcBef>
              <a:buSzPct val="90000"/>
              <a:buFont typeface="Arial" panose="020B0604020202020204" pitchFamily="34" charset="0"/>
              <a:buChar char="•"/>
              <a:defRPr sz="1200" kern="1200">
                <a:solidFill>
                  <a:schemeClr val="tx1"/>
                </a:solidFill>
                <a:latin typeface="+mn-lt"/>
                <a:ea typeface="+mn-ea"/>
                <a:cs typeface="+mn-cs"/>
              </a:defRPr>
            </a:lvl3pPr>
            <a:lvl4pPr marL="628650" indent="-115888" algn="l" defTabSz="914400" rtl="0" eaLnBrk="1" latinLnBrk="0" hangingPunct="1">
              <a:lnSpc>
                <a:spcPct val="100000"/>
              </a:lnSpc>
              <a:spcBef>
                <a:spcPts val="300"/>
              </a:spcBef>
              <a:buClr>
                <a:srgbClr val="FC661E"/>
              </a:buClr>
              <a:buFont typeface="Arial" panose="020B0604020202020204" pitchFamily="34" charset="0"/>
              <a:buChar char="­"/>
              <a:defRPr sz="12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1800" kern="1200">
                <a:solidFill>
                  <a:srgbClr val="FC661E"/>
                </a:solidFill>
                <a:latin typeface="+mn-lt"/>
                <a:ea typeface="+mn-ea"/>
                <a:cs typeface="+mn-cs"/>
              </a:defRPr>
            </a:lvl5pPr>
            <a:lvl6pPr marL="744538" indent="-228600" algn="l" defTabSz="914400" rtl="0" eaLnBrk="1" latinLnBrk="0" hangingPunct="1">
              <a:lnSpc>
                <a:spcPct val="100000"/>
              </a:lnSpc>
              <a:spcBef>
                <a:spcPts val="0"/>
              </a:spcBef>
              <a:buFont typeface="Arial" panose="020B0604020202020204" pitchFamily="34" charset="0"/>
              <a:buChar char="•"/>
              <a:defRPr sz="1000" kern="1200">
                <a:solidFill>
                  <a:schemeClr val="tx1"/>
                </a:solidFill>
                <a:latin typeface="+mn-lt"/>
                <a:ea typeface="+mn-ea"/>
                <a:cs typeface="+mn-cs"/>
              </a:defRPr>
            </a:lvl6pPr>
            <a:lvl7pPr marL="744538" indent="-228600" algn="l" defTabSz="914400" rtl="0" eaLnBrk="1" latinLnBrk="0" hangingPunct="1">
              <a:lnSpc>
                <a:spcPct val="100000"/>
              </a:lnSpc>
              <a:spcBef>
                <a:spcPts val="0"/>
              </a:spcBef>
              <a:buFont typeface="Arial" panose="020B0604020202020204" pitchFamily="34" charset="0"/>
              <a:buChar char="•"/>
              <a:defRPr sz="1000" kern="1200">
                <a:solidFill>
                  <a:schemeClr val="tx1"/>
                </a:solidFill>
                <a:latin typeface="+mn-lt"/>
                <a:ea typeface="+mn-ea"/>
                <a:cs typeface="+mn-cs"/>
              </a:defRPr>
            </a:lvl7pPr>
            <a:lvl8pPr marL="744538" indent="-228600" algn="l" defTabSz="914400" rtl="0" eaLnBrk="1" latinLnBrk="0" hangingPunct="1">
              <a:lnSpc>
                <a:spcPct val="100000"/>
              </a:lnSpc>
              <a:spcBef>
                <a:spcPts val="0"/>
              </a:spcBef>
              <a:buFont typeface="Arial" panose="020B0604020202020204" pitchFamily="34" charset="0"/>
              <a:buChar char="•"/>
              <a:defRPr sz="1000" kern="1200">
                <a:solidFill>
                  <a:schemeClr val="tx1"/>
                </a:solidFill>
                <a:latin typeface="+mn-lt"/>
                <a:ea typeface="+mn-ea"/>
                <a:cs typeface="+mn-cs"/>
              </a:defRPr>
            </a:lvl8pPr>
            <a:lvl9pPr marL="744538" indent="-228600" algn="l" defTabSz="914400" rtl="0" eaLnBrk="1" latinLnBrk="0" hangingPunct="1">
              <a:lnSpc>
                <a:spcPct val="100000"/>
              </a:lnSpc>
              <a:spcBef>
                <a:spcPts val="0"/>
              </a:spcBef>
              <a:buFont typeface="Arial" panose="020B0604020202020204" pitchFamily="34" charset="0"/>
              <a:buChar char="•"/>
              <a:defRPr sz="1000" kern="1200">
                <a:solidFill>
                  <a:schemeClr val="tx1"/>
                </a:solidFill>
                <a:latin typeface="+mn-lt"/>
                <a:ea typeface="+mn-ea"/>
                <a:cs typeface="+mn-cs"/>
              </a:defRPr>
            </a:lvl9pPr>
          </a:lstStyle>
          <a:p>
            <a:pPr>
              <a:buNone/>
            </a:pPr>
            <a:r>
              <a:rPr lang="en-US" sz="2400" b="1" dirty="0"/>
              <a:t>Risks / Concerns</a:t>
            </a:r>
          </a:p>
          <a:p>
            <a:pPr marL="171450" indent="-171450">
              <a:buFont typeface="Wingdings" panose="05000000000000000000" pitchFamily="2" charset="2"/>
              <a:buChar char="q"/>
            </a:pPr>
            <a:r>
              <a:rPr lang="en-US" sz="2400" dirty="0"/>
              <a:t> If due date, liability is incorrect, all payments submitted/debited at once</a:t>
            </a:r>
          </a:p>
          <a:p>
            <a:pPr marL="171450" indent="-171450">
              <a:buFont typeface="Wingdings" panose="05000000000000000000" pitchFamily="2" charset="2"/>
              <a:buChar char="q"/>
            </a:pPr>
            <a:r>
              <a:rPr lang="en-US" sz="2400" dirty="0"/>
              <a:t> ACH Credit file must be sent to the bank one business day earlier to settle; therefore the filing must be complete at that time also.</a:t>
            </a:r>
          </a:p>
          <a:p>
            <a:pPr marL="171450" indent="-171450">
              <a:buFont typeface="Wingdings" panose="05000000000000000000" pitchFamily="2" charset="2"/>
              <a:buChar char="q"/>
            </a:pPr>
            <a:r>
              <a:rPr lang="en-US" sz="2400" dirty="0"/>
              <a:t> Taxpayers do not always see confirmations and inquire to us concerned </a:t>
            </a:r>
          </a:p>
          <a:p>
            <a:pPr marL="171450" indent="-171450">
              <a:buFont typeface="Wingdings" panose="05000000000000000000" pitchFamily="2" charset="2"/>
              <a:buChar char="q"/>
            </a:pPr>
            <a:r>
              <a:rPr lang="en-US" sz="2400" dirty="0"/>
              <a:t> Avalara desires partnerships with State representatives to forge forward opportunities to make this process more seamless</a:t>
            </a:r>
          </a:p>
        </p:txBody>
      </p:sp>
    </p:spTree>
    <p:extLst>
      <p:ext uri="{BB962C8B-B14F-4D97-AF65-F5344CB8AC3E}">
        <p14:creationId xmlns:p14="http://schemas.microsoft.com/office/powerpoint/2010/main" val="8356716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57ED7B-52FE-4096-9CD2-EFE2294377A2}"/>
              </a:ext>
            </a:extLst>
          </p:cNvPr>
          <p:cNvSpPr>
            <a:spLocks noGrp="1"/>
          </p:cNvSpPr>
          <p:nvPr>
            <p:ph type="sldNum" sz="quarter" idx="12"/>
          </p:nvPr>
        </p:nvSpPr>
        <p:spPr/>
        <p:txBody>
          <a:bodyPr/>
          <a:lstStyle/>
          <a:p>
            <a:fld id="{0D76ED6D-61E4-47B1-B71F-B65993433194}" type="slidenum">
              <a:rPr lang="en-US" smtClean="0"/>
              <a:t>11</a:t>
            </a:fld>
            <a:endParaRPr lang="en-US" dirty="0"/>
          </a:p>
        </p:txBody>
      </p:sp>
      <p:sp>
        <p:nvSpPr>
          <p:cNvPr id="4" name="Footer Placeholder 3">
            <a:extLst>
              <a:ext uri="{FF2B5EF4-FFF2-40B4-BE49-F238E27FC236}">
                <a16:creationId xmlns:a16="http://schemas.microsoft.com/office/drawing/2014/main" id="{D57AE6B3-B918-449D-960F-52DDAF9BA846}"/>
              </a:ext>
            </a:extLst>
          </p:cNvPr>
          <p:cNvSpPr>
            <a:spLocks noGrp="1"/>
          </p:cNvSpPr>
          <p:nvPr>
            <p:ph type="ftr" sz="quarter" idx="11"/>
          </p:nvPr>
        </p:nvSpPr>
        <p:spPr/>
        <p:txBody>
          <a:bodyPr/>
          <a:lstStyle/>
          <a:p>
            <a:r>
              <a:rPr lang="en-US" dirty="0"/>
              <a:t>©Avalara. Confidential and proprietary.</a:t>
            </a:r>
          </a:p>
        </p:txBody>
      </p:sp>
      <p:sp>
        <p:nvSpPr>
          <p:cNvPr id="6" name="Title 5">
            <a:extLst>
              <a:ext uri="{FF2B5EF4-FFF2-40B4-BE49-F238E27FC236}">
                <a16:creationId xmlns:a16="http://schemas.microsoft.com/office/drawing/2014/main" id="{93984283-0041-4794-AB45-FAE74C7865A2}"/>
              </a:ext>
            </a:extLst>
          </p:cNvPr>
          <p:cNvSpPr>
            <a:spLocks noGrp="1"/>
          </p:cNvSpPr>
          <p:nvPr>
            <p:ph type="title"/>
          </p:nvPr>
        </p:nvSpPr>
        <p:spPr/>
        <p:txBody>
          <a:bodyPr/>
          <a:lstStyle/>
          <a:p>
            <a:pPr>
              <a:buNone/>
            </a:pPr>
            <a:r>
              <a:rPr lang="en-US" dirty="0">
                <a:latin typeface="Calibri" panose="020F0502020204030204" pitchFamily="34" charset="0"/>
                <a:cs typeface="Calibri" panose="020F0502020204030204" pitchFamily="34" charset="0"/>
              </a:rPr>
              <a:t>Returns</a:t>
            </a:r>
          </a:p>
        </p:txBody>
      </p:sp>
      <p:sp>
        <p:nvSpPr>
          <p:cNvPr id="7" name="Rectangle 2">
            <a:extLst>
              <a:ext uri="{FF2B5EF4-FFF2-40B4-BE49-F238E27FC236}">
                <a16:creationId xmlns:a16="http://schemas.microsoft.com/office/drawing/2014/main" id="{ECC9EF08-1159-439E-BE9C-9C3E286C47F7}"/>
              </a:ext>
            </a:extLst>
          </p:cNvPr>
          <p:cNvSpPr>
            <a:spLocks noGrp="1" noChangeArrowheads="1"/>
          </p:cNvSpPr>
          <p:nvPr>
            <p:ph idx="1"/>
          </p:nvPr>
        </p:nvSpPr>
        <p:spPr bwMode="auto">
          <a:xfrm>
            <a:off x="685800" y="1960444"/>
            <a:ext cx="10718800"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Over 1 million returns remitted every year</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We have approximately 2,100 returns in our inventory</a:t>
            </a:r>
          </a:p>
          <a:p>
            <a:pPr marL="708660" lvl="1" indent="-342900" eaLnBrk="0" fontAlgn="base" hangingPunct="0">
              <a:lnSpc>
                <a:spcPct val="100000"/>
              </a:lnSpc>
              <a:spcBef>
                <a:spcPct val="0"/>
              </a:spcBef>
              <a:spcAft>
                <a:spcPct val="0"/>
              </a:spcAft>
              <a:buClrTx/>
              <a:buSzTx/>
            </a:pPr>
            <a:r>
              <a:rPr lang="en-US" altLang="en-US" dirty="0">
                <a:latin typeface="Arial" panose="020B0604020202020204" pitchFamily="34" charset="0"/>
                <a:ea typeface="Calibri" panose="020F0502020204030204" pitchFamily="34" charset="0"/>
              </a:rPr>
              <a:t>Sales, lodging, communication taxes and motor fuel taxes</a:t>
            </a:r>
            <a:endPar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dirty="0">
                <a:latin typeface="Arial" panose="020B0604020202020204" pitchFamily="34" charset="0"/>
                <a:ea typeface="Calibri" panose="020F0502020204030204" pitchFamily="34" charset="0"/>
              </a:rPr>
              <a:t>Approximately </a:t>
            </a:r>
            <a:r>
              <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616 of them are sales and use tax return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Approximately 80 of these forms we only support for manual filing where customers call in their values every month for filing:</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rPr>
              <a:t> 	Examples of manual returns include:</a:t>
            </a:r>
            <a:endParaRPr kumimoji="0" lang="en-US" altLang="en-US" b="0" i="0" u="none" strike="noStrike" cap="none" normalizeH="0" baseline="0" dirty="0">
              <a:ln>
                <a:noFill/>
              </a:ln>
              <a:solidFill>
                <a:schemeClr val="tx1"/>
              </a:solidFill>
              <a:effectLst/>
              <a:latin typeface="Arial" panose="020B0604020202020204" pitchFamily="34" charset="0"/>
            </a:endParaRPr>
          </a:p>
          <a:p>
            <a:pPr lvl="2" indent="0" eaLnBrk="0" fontAlgn="base" hangingPunct="0">
              <a:spcBef>
                <a:spcPct val="0"/>
              </a:spcBef>
              <a:spcAft>
                <a:spcPct val="0"/>
              </a:spcAft>
              <a:buSzTx/>
              <a:buFontTx/>
              <a:buChar char="•"/>
            </a:pPr>
            <a:r>
              <a:rPr kumimoji="0" lang="en-US" altLang="en-US"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B&amp;O Tax returns</a:t>
            </a:r>
            <a:endPar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lvl="2" indent="0" eaLnBrk="0" fontAlgn="base" hangingPunct="0">
              <a:spcBef>
                <a:spcPct val="0"/>
              </a:spcBef>
              <a:spcAft>
                <a:spcPct val="0"/>
              </a:spcAft>
              <a:buSzTx/>
              <a:buFontTx/>
              <a:buChar char="•"/>
            </a:pPr>
            <a:r>
              <a:rPr kumimoji="0" lang="en-US" altLang="en-US"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Retail Incentive Zones returns</a:t>
            </a:r>
            <a:endPar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lvl="2" indent="0" eaLnBrk="0" fontAlgn="base" hangingPunct="0">
              <a:spcBef>
                <a:spcPct val="0"/>
              </a:spcBef>
              <a:spcAft>
                <a:spcPct val="0"/>
              </a:spcAft>
              <a:buSzTx/>
              <a:buFontTx/>
              <a:buChar char="•"/>
            </a:pPr>
            <a:r>
              <a:rPr kumimoji="0" lang="en-US" altLang="en-US"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Commercial Activity returns</a:t>
            </a:r>
            <a:endParaRPr kumimoji="0" lang="en-US" altLang="en-US" b="0" i="0" u="none" strike="noStrike" cap="none" normalizeH="0" baseline="0" dirty="0">
              <a:ln>
                <a:noFill/>
              </a:ln>
              <a:solidFill>
                <a:schemeClr val="tx1"/>
              </a:solidFill>
              <a:effectLst/>
              <a:latin typeface="Arial" panose="020B0604020202020204" pitchFamily="34" charset="0"/>
              <a:ea typeface="Calibri" panose="020F0502020204030204" pitchFamily="34" charset="0"/>
            </a:endParaRPr>
          </a:p>
          <a:p>
            <a:pPr lvl="2" indent="0" eaLnBrk="0" fontAlgn="base" hangingPunct="0">
              <a:spcBef>
                <a:spcPct val="0"/>
              </a:spcBef>
              <a:spcAft>
                <a:spcPct val="0"/>
              </a:spcAft>
              <a:buSzTx/>
              <a:buFontTx/>
              <a:buChar char="•"/>
            </a:pPr>
            <a:r>
              <a:rPr kumimoji="0" lang="en-US" altLang="en-US"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Rental, Leasing and Motor Vehicle returns</a:t>
            </a:r>
            <a:endParaRPr kumimoji="0" lang="en-US" altLang="en-US"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99944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20F718-E261-4694-B384-3D44800EB5F8}"/>
              </a:ext>
            </a:extLst>
          </p:cNvPr>
          <p:cNvSpPr>
            <a:spLocks noGrp="1"/>
          </p:cNvSpPr>
          <p:nvPr>
            <p:ph type="ftr" sz="quarter" idx="11"/>
          </p:nvPr>
        </p:nvSpPr>
        <p:spPr/>
        <p:txBody>
          <a:bodyPr/>
          <a:lstStyle/>
          <a:p>
            <a:r>
              <a:rPr lang="en-US"/>
              <a:t>©Avalara. Confidential and proprietary.</a:t>
            </a:r>
          </a:p>
        </p:txBody>
      </p:sp>
      <p:sp>
        <p:nvSpPr>
          <p:cNvPr id="3" name="Slide Number Placeholder 2">
            <a:extLst>
              <a:ext uri="{FF2B5EF4-FFF2-40B4-BE49-F238E27FC236}">
                <a16:creationId xmlns:a16="http://schemas.microsoft.com/office/drawing/2014/main" id="{56CF3E04-F61D-42A0-BD15-55BBD0120813}"/>
              </a:ext>
            </a:extLst>
          </p:cNvPr>
          <p:cNvSpPr>
            <a:spLocks noGrp="1"/>
          </p:cNvSpPr>
          <p:nvPr>
            <p:ph type="sldNum" sz="quarter" idx="12"/>
          </p:nvPr>
        </p:nvSpPr>
        <p:spPr/>
        <p:txBody>
          <a:bodyPr/>
          <a:lstStyle/>
          <a:p>
            <a:fld id="{C7927A04-FFAB-4E77-8A60-75CB67674673}" type="slidenum">
              <a:rPr lang="en-US" smtClean="0"/>
              <a:t>12</a:t>
            </a:fld>
            <a:endParaRPr lang="en-US"/>
          </a:p>
        </p:txBody>
      </p:sp>
      <p:sp>
        <p:nvSpPr>
          <p:cNvPr id="8" name="TextBox 7">
            <a:extLst>
              <a:ext uri="{FF2B5EF4-FFF2-40B4-BE49-F238E27FC236}">
                <a16:creationId xmlns:a16="http://schemas.microsoft.com/office/drawing/2014/main" id="{2406264A-65BC-4774-BA9F-312E132BF8CF}"/>
              </a:ext>
            </a:extLst>
          </p:cNvPr>
          <p:cNvSpPr txBox="1"/>
          <p:nvPr/>
        </p:nvSpPr>
        <p:spPr>
          <a:xfrm>
            <a:off x="340305" y="589740"/>
            <a:ext cx="5915795" cy="683264"/>
          </a:xfrm>
          <a:prstGeom prst="rect">
            <a:avLst/>
          </a:prstGeom>
          <a:noFill/>
        </p:spPr>
        <p:txBody>
          <a:bodyPr wrap="square" tIns="91440" bIns="91440" rtlCol="0" anchor="ctr" anchorCtr="1">
            <a:spAutoFit/>
          </a:bodyPr>
          <a:lstStyle/>
          <a:p>
            <a:pPr>
              <a:lnSpc>
                <a:spcPct val="90000"/>
              </a:lnSpc>
              <a:spcBef>
                <a:spcPts val="1200"/>
              </a:spcBef>
            </a:pPr>
            <a:r>
              <a:rPr lang="en-US" sz="3600" dirty="0">
                <a:solidFill>
                  <a:srgbClr val="5F6062"/>
                </a:solidFill>
                <a:latin typeface="Arial"/>
              </a:rPr>
              <a:t>Global Returns Services</a:t>
            </a:r>
          </a:p>
        </p:txBody>
      </p:sp>
      <p:sp>
        <p:nvSpPr>
          <p:cNvPr id="9" name="Rectangle 8">
            <a:extLst>
              <a:ext uri="{FF2B5EF4-FFF2-40B4-BE49-F238E27FC236}">
                <a16:creationId xmlns:a16="http://schemas.microsoft.com/office/drawing/2014/main" id="{479BE491-3121-41A1-8ED1-E25EF0C049F2}"/>
              </a:ext>
            </a:extLst>
          </p:cNvPr>
          <p:cNvSpPr/>
          <p:nvPr/>
        </p:nvSpPr>
        <p:spPr bwMode="auto">
          <a:xfrm>
            <a:off x="71658" y="1763915"/>
            <a:ext cx="12097823" cy="1900930"/>
          </a:xfrm>
          <a:prstGeom prst="rect">
            <a:avLst/>
          </a:prstGeom>
          <a:solidFill>
            <a:srgbClr val="FC661E"/>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742950" marR="0" lvl="1" indent="-285750" defTabSz="914400" eaLnBrk="0" fontAlgn="base" latinLnBrk="0" hangingPunct="0">
              <a:lnSpc>
                <a:spcPct val="90000"/>
              </a:lnSpc>
              <a:spcBef>
                <a:spcPts val="60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white"/>
              </a:solidFill>
              <a:effectLst/>
              <a:uLnTx/>
              <a:uFillTx/>
              <a:latin typeface="Arial"/>
            </a:endParaRPr>
          </a:p>
          <a:p>
            <a:pPr marL="742950" marR="0" lvl="1" indent="-285750" defTabSz="914400" eaLnBrk="0" fontAlgn="base" latinLnBrk="0" hangingPunct="0">
              <a:lnSpc>
                <a:spcPct val="90000"/>
              </a:lnSpc>
              <a:spcBef>
                <a:spcPts val="6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Arial"/>
              </a:rPr>
              <a:t>Promote Employee &amp; Customer Experience</a:t>
            </a:r>
          </a:p>
          <a:p>
            <a:pPr marL="742950" marR="0" lvl="1" indent="-285750" defTabSz="914400" eaLnBrk="0" fontAlgn="base" latinLnBrk="0" hangingPunct="0">
              <a:lnSpc>
                <a:spcPct val="90000"/>
              </a:lnSpc>
              <a:spcBef>
                <a:spcPts val="6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Arial"/>
              </a:rPr>
              <a:t>Share Best Practices</a:t>
            </a:r>
          </a:p>
          <a:p>
            <a:pPr marL="742950" marR="0" lvl="1" indent="-285750" defTabSz="914400" eaLnBrk="0" fontAlgn="base" latinLnBrk="0" hangingPunct="0">
              <a:lnSpc>
                <a:spcPct val="90000"/>
              </a:lnSpc>
              <a:spcBef>
                <a:spcPts val="6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Arial"/>
              </a:rPr>
              <a:t>Manage Risk under Compressed Deadlines</a:t>
            </a:r>
          </a:p>
          <a:p>
            <a:pPr marL="742950" marR="0" lvl="1" indent="-285750" defTabSz="914400" eaLnBrk="0" fontAlgn="base" latinLnBrk="0" hangingPunct="0">
              <a:lnSpc>
                <a:spcPct val="90000"/>
              </a:lnSpc>
              <a:spcBef>
                <a:spcPts val="60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Arial"/>
              </a:rPr>
              <a:t>Drive Automation</a:t>
            </a:r>
          </a:p>
          <a:p>
            <a:pPr marL="0" marR="0" lvl="0" indent="0" algn="ctr" defTabSz="914400" eaLnBrk="0" fontAlgn="base" latinLnBrk="0" hangingPunct="0">
              <a:lnSpc>
                <a:spcPct val="90000"/>
              </a:lnSpc>
              <a:spcBef>
                <a:spcPts val="60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ndParaRPr>
          </a:p>
        </p:txBody>
      </p:sp>
      <p:pic>
        <p:nvPicPr>
          <p:cNvPr id="10" name="Picture 9">
            <a:extLst>
              <a:ext uri="{FF2B5EF4-FFF2-40B4-BE49-F238E27FC236}">
                <a16:creationId xmlns:a16="http://schemas.microsoft.com/office/drawing/2014/main" id="{DEBD5650-E7FD-49D9-A868-F855C1048D21}"/>
              </a:ext>
            </a:extLst>
          </p:cNvPr>
          <p:cNvPicPr>
            <a:picLocks noChangeAspect="1"/>
          </p:cNvPicPr>
          <p:nvPr/>
        </p:nvPicPr>
        <p:blipFill>
          <a:blip r:embed="rId3"/>
          <a:stretch>
            <a:fillRect/>
          </a:stretch>
        </p:blipFill>
        <p:spPr>
          <a:xfrm>
            <a:off x="8542422" y="-46853"/>
            <a:ext cx="3649578" cy="3736129"/>
          </a:xfrm>
          <a:prstGeom prst="rect">
            <a:avLst/>
          </a:prstGeom>
        </p:spPr>
      </p:pic>
      <p:graphicFrame>
        <p:nvGraphicFramePr>
          <p:cNvPr id="11" name="Diagram 10">
            <a:extLst>
              <a:ext uri="{FF2B5EF4-FFF2-40B4-BE49-F238E27FC236}">
                <a16:creationId xmlns:a16="http://schemas.microsoft.com/office/drawing/2014/main" id="{A910966B-1DDE-44C4-8006-12AADA36A541}"/>
              </a:ext>
            </a:extLst>
          </p:cNvPr>
          <p:cNvGraphicFramePr/>
          <p:nvPr>
            <p:extLst/>
          </p:nvPr>
        </p:nvGraphicFramePr>
        <p:xfrm>
          <a:off x="0" y="3429001"/>
          <a:ext cx="12191999" cy="349857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0031878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2DDC788-ADAA-49F0-AFF4-4EDDB6996C6D}"/>
              </a:ext>
            </a:extLst>
          </p:cNvPr>
          <p:cNvSpPr>
            <a:spLocks noGrp="1"/>
          </p:cNvSpPr>
          <p:nvPr>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14798471-2A73-426E-9D2D-121B20A9C513}"/>
              </a:ext>
            </a:extLst>
          </p:cNvPr>
          <p:cNvSpPr>
            <a:spLocks noGrp="1"/>
          </p:cNvSpPr>
          <p:nvPr>
            <p:ph type="sldNum" sz="quarter" idx="12"/>
          </p:nvPr>
        </p:nvSpPr>
        <p:spPr/>
        <p:txBody>
          <a:bodyPr/>
          <a:lstStyle/>
          <a:p>
            <a:fld id="{0D76ED6D-61E4-47B1-B71F-B65993433194}" type="slidenum">
              <a:rPr lang="en-US" smtClean="0"/>
              <a:t>13</a:t>
            </a:fld>
            <a:endParaRPr lang="en-US"/>
          </a:p>
        </p:txBody>
      </p:sp>
      <p:sp>
        <p:nvSpPr>
          <p:cNvPr id="8" name="Title 7">
            <a:extLst>
              <a:ext uri="{FF2B5EF4-FFF2-40B4-BE49-F238E27FC236}">
                <a16:creationId xmlns:a16="http://schemas.microsoft.com/office/drawing/2014/main" id="{EA75A58B-6278-4C13-AACA-21B5F01ED0C4}"/>
              </a:ext>
            </a:extLst>
          </p:cNvPr>
          <p:cNvSpPr>
            <a:spLocks noGrp="1"/>
          </p:cNvSpPr>
          <p:nvPr>
            <p:ph type="title"/>
          </p:nvPr>
        </p:nvSpPr>
        <p:spPr>
          <a:xfrm>
            <a:off x="331695" y="389176"/>
            <a:ext cx="10820400" cy="498598"/>
          </a:xfrm>
        </p:spPr>
        <p:txBody>
          <a:bodyPr>
            <a:normAutofit/>
          </a:bodyPr>
          <a:lstStyle/>
          <a:p>
            <a:r>
              <a:rPr lang="en-US" i="1" dirty="0"/>
              <a:t>State Summary Filing Capabilities</a:t>
            </a:r>
            <a:r>
              <a:rPr lang="en-US" b="1" dirty="0"/>
              <a:t> </a:t>
            </a:r>
          </a:p>
        </p:txBody>
      </p:sp>
      <p:graphicFrame>
        <p:nvGraphicFramePr>
          <p:cNvPr id="9" name="Content Placeholder 5">
            <a:extLst>
              <a:ext uri="{FF2B5EF4-FFF2-40B4-BE49-F238E27FC236}">
                <a16:creationId xmlns:a16="http://schemas.microsoft.com/office/drawing/2014/main" id="{59374BD7-63D8-4B1C-A6A3-6046AA32A722}"/>
              </a:ext>
            </a:extLst>
          </p:cNvPr>
          <p:cNvGraphicFramePr>
            <a:graphicFrameLocks/>
          </p:cNvGraphicFramePr>
          <p:nvPr>
            <p:extLst/>
          </p:nvPr>
        </p:nvGraphicFramePr>
        <p:xfrm>
          <a:off x="331695" y="1098180"/>
          <a:ext cx="11698939" cy="5105400"/>
        </p:xfrm>
        <a:graphic>
          <a:graphicData uri="http://schemas.openxmlformats.org/drawingml/2006/table">
            <a:tbl>
              <a:tblPr firstRow="1" bandRow="1">
                <a:tableStyleId>{5C22544A-7EE6-4342-B048-85BDC9FD1C3A}</a:tableStyleId>
              </a:tblPr>
              <a:tblGrid>
                <a:gridCol w="3527858">
                  <a:extLst>
                    <a:ext uri="{9D8B030D-6E8A-4147-A177-3AD203B41FA5}">
                      <a16:colId xmlns:a16="http://schemas.microsoft.com/office/drawing/2014/main" val="865379967"/>
                    </a:ext>
                  </a:extLst>
                </a:gridCol>
                <a:gridCol w="1166842">
                  <a:extLst>
                    <a:ext uri="{9D8B030D-6E8A-4147-A177-3AD203B41FA5}">
                      <a16:colId xmlns:a16="http://schemas.microsoft.com/office/drawing/2014/main" val="4011752490"/>
                    </a:ext>
                  </a:extLst>
                </a:gridCol>
                <a:gridCol w="1391234">
                  <a:extLst>
                    <a:ext uri="{9D8B030D-6E8A-4147-A177-3AD203B41FA5}">
                      <a16:colId xmlns:a16="http://schemas.microsoft.com/office/drawing/2014/main" val="2589975432"/>
                    </a:ext>
                  </a:extLst>
                </a:gridCol>
                <a:gridCol w="1088305">
                  <a:extLst>
                    <a:ext uri="{9D8B030D-6E8A-4147-A177-3AD203B41FA5}">
                      <a16:colId xmlns:a16="http://schemas.microsoft.com/office/drawing/2014/main" val="1636547030"/>
                    </a:ext>
                  </a:extLst>
                </a:gridCol>
                <a:gridCol w="1307475">
                  <a:extLst>
                    <a:ext uri="{9D8B030D-6E8A-4147-A177-3AD203B41FA5}">
                      <a16:colId xmlns:a16="http://schemas.microsoft.com/office/drawing/2014/main" val="2548388780"/>
                    </a:ext>
                  </a:extLst>
                </a:gridCol>
                <a:gridCol w="1654508">
                  <a:extLst>
                    <a:ext uri="{9D8B030D-6E8A-4147-A177-3AD203B41FA5}">
                      <a16:colId xmlns:a16="http://schemas.microsoft.com/office/drawing/2014/main" val="1850758611"/>
                    </a:ext>
                  </a:extLst>
                </a:gridCol>
                <a:gridCol w="1562717">
                  <a:extLst>
                    <a:ext uri="{9D8B030D-6E8A-4147-A177-3AD203B41FA5}">
                      <a16:colId xmlns:a16="http://schemas.microsoft.com/office/drawing/2014/main" val="4180346636"/>
                    </a:ext>
                  </a:extLst>
                </a:gridCol>
              </a:tblGrid>
              <a:tr h="497600">
                <a:tc>
                  <a:txBody>
                    <a:bodyPr/>
                    <a:lstStyle/>
                    <a:p>
                      <a:r>
                        <a:rPr lang="en-US" sz="1600" dirty="0"/>
                        <a:t>States</a:t>
                      </a:r>
                    </a:p>
                  </a:txBody>
                  <a:tcPr/>
                </a:tc>
                <a:tc>
                  <a:txBody>
                    <a:bodyPr/>
                    <a:lstStyle/>
                    <a:p>
                      <a:pPr algn="ctr"/>
                      <a:r>
                        <a:rPr lang="en-US" sz="1600" dirty="0"/>
                        <a:t>Bulk Account</a:t>
                      </a:r>
                    </a:p>
                  </a:txBody>
                  <a:tcPr/>
                </a:tc>
                <a:tc>
                  <a:txBody>
                    <a:bodyPr/>
                    <a:lstStyle/>
                    <a:p>
                      <a:pPr algn="ctr"/>
                      <a:r>
                        <a:rPr lang="en-US" sz="1600" dirty="0"/>
                        <a:t>Transmission</a:t>
                      </a:r>
                      <a:br>
                        <a:rPr lang="en-US" sz="1600" dirty="0"/>
                      </a:br>
                      <a:r>
                        <a:rPr lang="en-US" sz="1600" dirty="0"/>
                        <a:t>Capabilities</a:t>
                      </a:r>
                    </a:p>
                  </a:txBody>
                  <a:tcPr/>
                </a:tc>
                <a:tc>
                  <a:txBody>
                    <a:bodyPr/>
                    <a:lstStyle/>
                    <a:p>
                      <a:pPr algn="ctr"/>
                      <a:r>
                        <a:rPr lang="en-US" sz="1600" dirty="0"/>
                        <a:t>ACH Credit </a:t>
                      </a:r>
                    </a:p>
                  </a:txBody>
                  <a:tcPr/>
                </a:tc>
                <a:tc>
                  <a:txBody>
                    <a:bodyPr/>
                    <a:lstStyle/>
                    <a:p>
                      <a:pPr algn="ctr"/>
                      <a:r>
                        <a:rPr lang="en-US" sz="1600" dirty="0"/>
                        <a:t>Upload Capabilities</a:t>
                      </a:r>
                    </a:p>
                  </a:txBody>
                  <a:tcPr/>
                </a:tc>
                <a:tc>
                  <a:txBody>
                    <a:bodyPr/>
                    <a:lstStyle/>
                    <a:p>
                      <a:pPr algn="ctr"/>
                      <a:r>
                        <a:rPr lang="en-US" sz="1600" dirty="0"/>
                        <a:t>TAP</a:t>
                      </a:r>
                      <a:br>
                        <a:rPr lang="en-US" sz="1600" dirty="0"/>
                      </a:br>
                      <a:r>
                        <a:rPr lang="en-US" sz="1600" dirty="0"/>
                        <a:t>Website</a:t>
                      </a:r>
                    </a:p>
                  </a:txBody>
                  <a:tcPr/>
                </a:tc>
                <a:tc>
                  <a:txBody>
                    <a:bodyPr/>
                    <a:lstStyle/>
                    <a:p>
                      <a:pPr algn="ctr"/>
                      <a:r>
                        <a:rPr lang="en-US" sz="1600" dirty="0"/>
                        <a:t>Multiple</a:t>
                      </a:r>
                      <a:br>
                        <a:rPr lang="en-US" sz="1600" dirty="0"/>
                      </a:br>
                      <a:r>
                        <a:rPr lang="en-US" sz="1600" dirty="0"/>
                        <a:t>Websites</a:t>
                      </a:r>
                    </a:p>
                  </a:txBody>
                  <a:tcPr/>
                </a:tc>
                <a:extLst>
                  <a:ext uri="{0D108BD9-81ED-4DB2-BD59-A6C34878D82A}">
                    <a16:rowId xmlns:a16="http://schemas.microsoft.com/office/drawing/2014/main" val="4207923834"/>
                  </a:ext>
                </a:extLst>
              </a:tr>
              <a:tr h="411480">
                <a:tc>
                  <a:txBody>
                    <a:bodyPr/>
                    <a:lstStyle/>
                    <a:p>
                      <a:r>
                        <a:rPr lang="en-US" sz="1400" dirty="0"/>
                        <a:t>Alabama</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1373390992"/>
                  </a:ext>
                </a:extLst>
              </a:tr>
              <a:tr h="411480">
                <a:tc>
                  <a:txBody>
                    <a:bodyPr/>
                    <a:lstStyle/>
                    <a:p>
                      <a:r>
                        <a:rPr lang="en-US" sz="1400" dirty="0"/>
                        <a:t>Arkansas</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3025340383"/>
                  </a:ext>
                </a:extLst>
              </a:tr>
              <a:tr h="411480">
                <a:tc>
                  <a:txBody>
                    <a:bodyPr/>
                    <a:lstStyle/>
                    <a:p>
                      <a:r>
                        <a:rPr lang="en-US" sz="1400" dirty="0"/>
                        <a:t>Florida</a:t>
                      </a:r>
                    </a:p>
                  </a:txBody>
                  <a:tcPr anchor="ctr"/>
                </a:tc>
                <a:tc>
                  <a:txBody>
                    <a:bodyPr/>
                    <a:lstStyle/>
                    <a:p>
                      <a:endParaRPr lang="en-US"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3367022388"/>
                  </a:ext>
                </a:extLst>
              </a:tr>
              <a:tr h="411480">
                <a:tc>
                  <a:txBody>
                    <a:bodyPr/>
                    <a:lstStyle/>
                    <a:p>
                      <a:r>
                        <a:rPr lang="en-US" sz="1400" dirty="0"/>
                        <a:t>Georgia</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1347454881"/>
                  </a:ext>
                </a:extLst>
              </a:tr>
              <a:tr h="411480">
                <a:tc>
                  <a:txBody>
                    <a:bodyPr/>
                    <a:lstStyle/>
                    <a:p>
                      <a:r>
                        <a:rPr lang="en-US" sz="1400" dirty="0"/>
                        <a:t>Kentucky</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3351989583"/>
                  </a:ext>
                </a:extLst>
              </a:tr>
              <a:tr h="411480">
                <a:tc>
                  <a:txBody>
                    <a:bodyPr/>
                    <a:lstStyle/>
                    <a:p>
                      <a:r>
                        <a:rPr lang="en-US" sz="1400" dirty="0"/>
                        <a:t>Louisiana</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3456063249"/>
                  </a:ext>
                </a:extLst>
              </a:tr>
              <a:tr h="411480">
                <a:tc>
                  <a:txBody>
                    <a:bodyPr/>
                    <a:lstStyle/>
                    <a:p>
                      <a:r>
                        <a:rPr lang="en-US" sz="1400" dirty="0"/>
                        <a:t>Maryland</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1905142818"/>
                  </a:ext>
                </a:extLst>
              </a:tr>
              <a:tr h="411480">
                <a:tc>
                  <a:txBody>
                    <a:bodyPr/>
                    <a:lstStyle/>
                    <a:p>
                      <a:r>
                        <a:rPr lang="en-US" sz="1400" dirty="0"/>
                        <a:t>North Carolina</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4016902380"/>
                  </a:ext>
                </a:extLst>
              </a:tr>
              <a:tr h="411480">
                <a:tc>
                  <a:txBody>
                    <a:bodyPr/>
                    <a:lstStyle/>
                    <a:p>
                      <a:r>
                        <a:rPr lang="en-US" sz="1400" dirty="0"/>
                        <a:t>Oklahoma</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1778804729"/>
                  </a:ext>
                </a:extLst>
              </a:tr>
              <a:tr h="411480">
                <a:tc>
                  <a:txBody>
                    <a:bodyPr/>
                    <a:lstStyle/>
                    <a:p>
                      <a:r>
                        <a:rPr lang="en-US" sz="1400" dirty="0"/>
                        <a:t>Tennessee</a:t>
                      </a:r>
                    </a:p>
                  </a:txBody>
                  <a:tcPr anchor="ctr"/>
                </a:tc>
                <a:tc>
                  <a:txBody>
                    <a:bodyPr/>
                    <a:lstStyle/>
                    <a:p>
                      <a:endParaRPr lang="en-US" sz="1400" dirty="0"/>
                    </a:p>
                  </a:txBody>
                  <a:tcPr/>
                </a:tc>
                <a:tc>
                  <a:txBody>
                    <a:bodyPr/>
                    <a:lstStyle/>
                    <a:p>
                      <a:pPr algn="ctr"/>
                      <a:endParaRPr lang="en-US" sz="1400" dirty="0"/>
                    </a:p>
                  </a:txBody>
                  <a:tcPr/>
                </a:tc>
                <a:tc>
                  <a:txBody>
                    <a:bodyPr/>
                    <a:lstStyle/>
                    <a:p>
                      <a:pPr algn="ctr"/>
                      <a:endParaRPr lang="en-US" sz="1400" dirty="0"/>
                    </a:p>
                  </a:txBody>
                  <a:tcPr/>
                </a:tc>
                <a:tc>
                  <a:txBody>
                    <a:bodyPr/>
                    <a:lstStyle/>
                    <a:p>
                      <a:pPr algn="ctr"/>
                      <a:endParaRPr lang="en-US" sz="1400" dirty="0"/>
                    </a:p>
                  </a:txBody>
                  <a:tcPr anchor="ctr"/>
                </a:tc>
                <a:tc>
                  <a:txBody>
                    <a:bodyPr/>
                    <a:lstStyle/>
                    <a:p>
                      <a:pPr algn="ctr"/>
                      <a:endParaRPr lang="en-US" sz="1400" dirty="0"/>
                    </a:p>
                  </a:txBody>
                  <a:tcPr anchor="ctr"/>
                </a:tc>
                <a:tc>
                  <a:txBody>
                    <a:bodyPr/>
                    <a:lstStyle/>
                    <a:p>
                      <a:pPr algn="ctr"/>
                      <a:endParaRPr lang="en-US" sz="1400" dirty="0"/>
                    </a:p>
                  </a:txBody>
                  <a:tcPr anchor="ctr"/>
                </a:tc>
                <a:extLst>
                  <a:ext uri="{0D108BD9-81ED-4DB2-BD59-A6C34878D82A}">
                    <a16:rowId xmlns:a16="http://schemas.microsoft.com/office/drawing/2014/main" val="34676716"/>
                  </a:ext>
                </a:extLst>
              </a:tr>
              <a:tr h="411480">
                <a:tc>
                  <a:txBody>
                    <a:bodyPr/>
                    <a:lstStyle/>
                    <a:p>
                      <a:r>
                        <a:rPr lang="en-US" sz="1400" dirty="0"/>
                        <a:t>Virginia</a:t>
                      </a:r>
                    </a:p>
                  </a:txBody>
                  <a:tcPr anchor="ctr">
                    <a:lnB w="12700" cmpd="sng">
                      <a:noFill/>
                    </a:lnB>
                  </a:tcPr>
                </a:tc>
                <a:tc>
                  <a:txBody>
                    <a:bodyPr/>
                    <a:lstStyle/>
                    <a:p>
                      <a:endParaRPr lang="en-US" sz="1400" dirty="0"/>
                    </a:p>
                  </a:txBody>
                  <a:tcPr>
                    <a:lnB w="12700" cmpd="sng">
                      <a:noFill/>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lnB w="12700" cmpd="sng">
                      <a:noFill/>
                    </a:lnB>
                  </a:tcPr>
                </a:tc>
                <a:tc>
                  <a:txBody>
                    <a:bodyPr/>
                    <a:lstStyle/>
                    <a:p>
                      <a:pPr algn="ctr"/>
                      <a:endParaRPr lang="en-US" sz="1400" dirty="0"/>
                    </a:p>
                  </a:txBody>
                  <a:tcPr>
                    <a:lnB w="12700" cmpd="sng">
                      <a:noFill/>
                    </a:lnB>
                  </a:tcPr>
                </a:tc>
                <a:tc>
                  <a:txBody>
                    <a:bodyPr/>
                    <a:lstStyle/>
                    <a:p>
                      <a:pPr algn="ctr"/>
                      <a:endParaRPr lang="en-US" sz="1400" dirty="0"/>
                    </a:p>
                  </a:txBody>
                  <a:tcPr anchor="ctr">
                    <a:lnB w="12700" cmpd="sng">
                      <a:noFill/>
                    </a:lnB>
                  </a:tcPr>
                </a:tc>
                <a:tc>
                  <a:txBody>
                    <a:bodyPr/>
                    <a:lstStyle/>
                    <a:p>
                      <a:pPr algn="ctr"/>
                      <a:endParaRPr lang="en-US" sz="1400" dirty="0"/>
                    </a:p>
                  </a:txBody>
                  <a:tcPr anchor="ctr">
                    <a:lnB w="12700" cmpd="sng">
                      <a:noFill/>
                    </a:lnB>
                  </a:tcPr>
                </a:tc>
                <a:tc>
                  <a:txBody>
                    <a:bodyPr/>
                    <a:lstStyle/>
                    <a:p>
                      <a:pPr algn="ctr"/>
                      <a:endParaRPr lang="en-US" sz="1400" dirty="0"/>
                    </a:p>
                  </a:txBody>
                  <a:tcPr anchor="ctr">
                    <a:lnB w="12700" cmpd="sng">
                      <a:noFill/>
                    </a:lnB>
                  </a:tcPr>
                </a:tc>
                <a:extLst>
                  <a:ext uri="{0D108BD9-81ED-4DB2-BD59-A6C34878D82A}">
                    <a16:rowId xmlns:a16="http://schemas.microsoft.com/office/drawing/2014/main" val="610610149"/>
                  </a:ext>
                </a:extLst>
              </a:tr>
            </a:tbl>
          </a:graphicData>
        </a:graphic>
      </p:graphicFrame>
      <p:pic>
        <p:nvPicPr>
          <p:cNvPr id="17" name="Graphic 16" descr="Checkmark">
            <a:extLst>
              <a:ext uri="{FF2B5EF4-FFF2-40B4-BE49-F238E27FC236}">
                <a16:creationId xmlns:a16="http://schemas.microsoft.com/office/drawing/2014/main" id="{0AA0B337-F85D-4F8C-B942-F4C4DA8901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9721" y="3718648"/>
            <a:ext cx="457553" cy="457553"/>
          </a:xfrm>
          <a:prstGeom prst="rect">
            <a:avLst/>
          </a:prstGeom>
        </p:spPr>
      </p:pic>
      <p:pic>
        <p:nvPicPr>
          <p:cNvPr id="20" name="Graphic 19" descr="Checkmark">
            <a:extLst>
              <a:ext uri="{FF2B5EF4-FFF2-40B4-BE49-F238E27FC236}">
                <a16:creationId xmlns:a16="http://schemas.microsoft.com/office/drawing/2014/main" id="{128376CD-C515-404E-8F64-297100BD3A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8667" y="5762209"/>
            <a:ext cx="457553" cy="457553"/>
          </a:xfrm>
          <a:prstGeom prst="rect">
            <a:avLst/>
          </a:prstGeom>
        </p:spPr>
      </p:pic>
      <p:pic>
        <p:nvPicPr>
          <p:cNvPr id="22" name="Graphic 21" descr="Checkmark">
            <a:extLst>
              <a:ext uri="{FF2B5EF4-FFF2-40B4-BE49-F238E27FC236}">
                <a16:creationId xmlns:a16="http://schemas.microsoft.com/office/drawing/2014/main" id="{2C0CA1A9-501D-4C15-8AA9-DBF5D12467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4882" y="1653699"/>
            <a:ext cx="457201" cy="457201"/>
          </a:xfrm>
          <a:prstGeom prst="rect">
            <a:avLst/>
          </a:prstGeom>
        </p:spPr>
      </p:pic>
      <p:pic>
        <p:nvPicPr>
          <p:cNvPr id="25" name="Graphic 24" descr="Checkmark">
            <a:extLst>
              <a:ext uri="{FF2B5EF4-FFF2-40B4-BE49-F238E27FC236}">
                <a16:creationId xmlns:a16="http://schemas.microsoft.com/office/drawing/2014/main" id="{9987F6F4-7AE0-4414-B535-01BDA43E4B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2489" y="2058886"/>
            <a:ext cx="457201" cy="457201"/>
          </a:xfrm>
          <a:prstGeom prst="rect">
            <a:avLst/>
          </a:prstGeom>
        </p:spPr>
      </p:pic>
      <p:pic>
        <p:nvPicPr>
          <p:cNvPr id="26" name="Graphic 25" descr="Checkmark">
            <a:extLst>
              <a:ext uri="{FF2B5EF4-FFF2-40B4-BE49-F238E27FC236}">
                <a16:creationId xmlns:a16="http://schemas.microsoft.com/office/drawing/2014/main" id="{11C01117-BBD7-40B0-AFC5-D000C3E964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54881" y="2866154"/>
            <a:ext cx="457201" cy="457201"/>
          </a:xfrm>
          <a:prstGeom prst="rect">
            <a:avLst/>
          </a:prstGeom>
        </p:spPr>
      </p:pic>
      <p:pic>
        <p:nvPicPr>
          <p:cNvPr id="27" name="Graphic 26" descr="Checkmark">
            <a:extLst>
              <a:ext uri="{FF2B5EF4-FFF2-40B4-BE49-F238E27FC236}">
                <a16:creationId xmlns:a16="http://schemas.microsoft.com/office/drawing/2014/main" id="{F7BF3764-64CA-443C-83FA-1E59BCA058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24336" y="5370536"/>
            <a:ext cx="457201" cy="457201"/>
          </a:xfrm>
          <a:prstGeom prst="rect">
            <a:avLst/>
          </a:prstGeom>
        </p:spPr>
      </p:pic>
      <p:pic>
        <p:nvPicPr>
          <p:cNvPr id="29" name="Graphic 28" descr="Checkmark">
            <a:extLst>
              <a:ext uri="{FF2B5EF4-FFF2-40B4-BE49-F238E27FC236}">
                <a16:creationId xmlns:a16="http://schemas.microsoft.com/office/drawing/2014/main" id="{C7DCC141-E845-44A5-B7E3-5D4C865C01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2489" y="5333536"/>
            <a:ext cx="457201" cy="457201"/>
          </a:xfrm>
          <a:prstGeom prst="rect">
            <a:avLst/>
          </a:prstGeom>
        </p:spPr>
      </p:pic>
      <p:pic>
        <p:nvPicPr>
          <p:cNvPr id="30" name="Graphic 29" descr="Checkmark">
            <a:extLst>
              <a:ext uri="{FF2B5EF4-FFF2-40B4-BE49-F238E27FC236}">
                <a16:creationId xmlns:a16="http://schemas.microsoft.com/office/drawing/2014/main" id="{DC349EB7-83DF-44C2-8F40-7D3515309B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24336" y="2469826"/>
            <a:ext cx="457201" cy="457201"/>
          </a:xfrm>
          <a:prstGeom prst="rect">
            <a:avLst/>
          </a:prstGeom>
        </p:spPr>
      </p:pic>
      <p:pic>
        <p:nvPicPr>
          <p:cNvPr id="36" name="Graphic 35" descr="Checkmark">
            <a:extLst>
              <a:ext uri="{FF2B5EF4-FFF2-40B4-BE49-F238E27FC236}">
                <a16:creationId xmlns:a16="http://schemas.microsoft.com/office/drawing/2014/main" id="{08EDBD8B-B6CD-4735-8082-8C4595026DF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2571" y="3712025"/>
            <a:ext cx="457201" cy="457201"/>
          </a:xfrm>
          <a:prstGeom prst="rect">
            <a:avLst/>
          </a:prstGeom>
        </p:spPr>
      </p:pic>
      <p:pic>
        <p:nvPicPr>
          <p:cNvPr id="38" name="Graphic 37" descr="Checkmark">
            <a:extLst>
              <a:ext uri="{FF2B5EF4-FFF2-40B4-BE49-F238E27FC236}">
                <a16:creationId xmlns:a16="http://schemas.microsoft.com/office/drawing/2014/main" id="{3E4ADA21-6425-476D-8264-6D6D105197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5" y="3266550"/>
            <a:ext cx="457201" cy="457201"/>
          </a:xfrm>
          <a:prstGeom prst="rect">
            <a:avLst/>
          </a:prstGeom>
        </p:spPr>
      </p:pic>
      <p:pic>
        <p:nvPicPr>
          <p:cNvPr id="40" name="Graphic 39" descr="Checkmark">
            <a:extLst>
              <a:ext uri="{FF2B5EF4-FFF2-40B4-BE49-F238E27FC236}">
                <a16:creationId xmlns:a16="http://schemas.microsoft.com/office/drawing/2014/main" id="{3027A177-95FD-4CAB-ABEE-AD2ABE1931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2488" y="4904511"/>
            <a:ext cx="457201" cy="457201"/>
          </a:xfrm>
          <a:prstGeom prst="rect">
            <a:avLst/>
          </a:prstGeom>
        </p:spPr>
      </p:pic>
      <p:pic>
        <p:nvPicPr>
          <p:cNvPr id="43" name="Graphic 42" descr="Checkmark">
            <a:extLst>
              <a:ext uri="{FF2B5EF4-FFF2-40B4-BE49-F238E27FC236}">
                <a16:creationId xmlns:a16="http://schemas.microsoft.com/office/drawing/2014/main" id="{197BD1D8-1475-40DC-A553-A15FA52D9B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72357" y="3258773"/>
            <a:ext cx="457201" cy="457201"/>
          </a:xfrm>
          <a:prstGeom prst="rect">
            <a:avLst/>
          </a:prstGeom>
        </p:spPr>
      </p:pic>
      <p:pic>
        <p:nvPicPr>
          <p:cNvPr id="44" name="Graphic 43" descr="Checkmark">
            <a:extLst>
              <a:ext uri="{FF2B5EF4-FFF2-40B4-BE49-F238E27FC236}">
                <a16:creationId xmlns:a16="http://schemas.microsoft.com/office/drawing/2014/main" id="{5CF8E926-5AD1-433C-929A-779E00207D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61491" y="4114979"/>
            <a:ext cx="457201" cy="457201"/>
          </a:xfrm>
          <a:prstGeom prst="rect">
            <a:avLst/>
          </a:prstGeom>
        </p:spPr>
      </p:pic>
      <p:pic>
        <p:nvPicPr>
          <p:cNvPr id="28" name="Graphic 27" descr="Checkmark">
            <a:extLst>
              <a:ext uri="{FF2B5EF4-FFF2-40B4-BE49-F238E27FC236}">
                <a16:creationId xmlns:a16="http://schemas.microsoft.com/office/drawing/2014/main" id="{D2A5BEA5-B91E-402B-B1BE-DD5F2538A3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4" y="3712024"/>
            <a:ext cx="457201" cy="457201"/>
          </a:xfrm>
          <a:prstGeom prst="rect">
            <a:avLst/>
          </a:prstGeom>
        </p:spPr>
      </p:pic>
      <p:pic>
        <p:nvPicPr>
          <p:cNvPr id="33" name="Graphic 32" descr="Checkmark">
            <a:extLst>
              <a:ext uri="{FF2B5EF4-FFF2-40B4-BE49-F238E27FC236}">
                <a16:creationId xmlns:a16="http://schemas.microsoft.com/office/drawing/2014/main" id="{FD3E2DAD-08C6-4DB4-A59B-AB124D3BB66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5" y="2474467"/>
            <a:ext cx="457201" cy="457201"/>
          </a:xfrm>
          <a:prstGeom prst="rect">
            <a:avLst/>
          </a:prstGeom>
        </p:spPr>
      </p:pic>
      <p:pic>
        <p:nvPicPr>
          <p:cNvPr id="34" name="Graphic 33" descr="Checkmark">
            <a:extLst>
              <a:ext uri="{FF2B5EF4-FFF2-40B4-BE49-F238E27FC236}">
                <a16:creationId xmlns:a16="http://schemas.microsoft.com/office/drawing/2014/main" id="{CCC8B324-106E-4620-A01F-B5659A013D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5" y="2086074"/>
            <a:ext cx="457201" cy="457201"/>
          </a:xfrm>
          <a:prstGeom prst="rect">
            <a:avLst/>
          </a:prstGeom>
        </p:spPr>
      </p:pic>
      <p:pic>
        <p:nvPicPr>
          <p:cNvPr id="35" name="Graphic 34" descr="Checkmark">
            <a:extLst>
              <a:ext uri="{FF2B5EF4-FFF2-40B4-BE49-F238E27FC236}">
                <a16:creationId xmlns:a16="http://schemas.microsoft.com/office/drawing/2014/main" id="{AA6397DD-5C18-468C-8107-9346E2A7C3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5" y="4572180"/>
            <a:ext cx="457201" cy="457201"/>
          </a:xfrm>
          <a:prstGeom prst="rect">
            <a:avLst/>
          </a:prstGeom>
        </p:spPr>
      </p:pic>
      <p:pic>
        <p:nvPicPr>
          <p:cNvPr id="37" name="Graphic 36" descr="Checkmark">
            <a:extLst>
              <a:ext uri="{FF2B5EF4-FFF2-40B4-BE49-F238E27FC236}">
                <a16:creationId xmlns:a16="http://schemas.microsoft.com/office/drawing/2014/main" id="{126C6275-9B62-4EB2-A5F9-8F27EA97DA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5" y="4952265"/>
            <a:ext cx="457201" cy="457201"/>
          </a:xfrm>
          <a:prstGeom prst="rect">
            <a:avLst/>
          </a:prstGeom>
        </p:spPr>
      </p:pic>
      <p:pic>
        <p:nvPicPr>
          <p:cNvPr id="39" name="Graphic 38" descr="Checkmark">
            <a:extLst>
              <a:ext uri="{FF2B5EF4-FFF2-40B4-BE49-F238E27FC236}">
                <a16:creationId xmlns:a16="http://schemas.microsoft.com/office/drawing/2014/main" id="{4B5CD46C-A7B1-4D85-AF51-9E769D2DF4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6103" y="5361712"/>
            <a:ext cx="457201" cy="457201"/>
          </a:xfrm>
          <a:prstGeom prst="rect">
            <a:avLst/>
          </a:prstGeom>
        </p:spPr>
      </p:pic>
      <p:pic>
        <p:nvPicPr>
          <p:cNvPr id="41" name="Graphic 40" descr="Checkmark">
            <a:extLst>
              <a:ext uri="{FF2B5EF4-FFF2-40B4-BE49-F238E27FC236}">
                <a16:creationId xmlns:a16="http://schemas.microsoft.com/office/drawing/2014/main" id="{A2D9993E-4A8B-4D50-AF65-FCF148E7E2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99573" y="5782646"/>
            <a:ext cx="457201" cy="457201"/>
          </a:xfrm>
          <a:prstGeom prst="rect">
            <a:avLst/>
          </a:prstGeom>
        </p:spPr>
      </p:pic>
      <p:pic>
        <p:nvPicPr>
          <p:cNvPr id="42" name="Graphic 41" descr="Checkmark">
            <a:extLst>
              <a:ext uri="{FF2B5EF4-FFF2-40B4-BE49-F238E27FC236}">
                <a16:creationId xmlns:a16="http://schemas.microsoft.com/office/drawing/2014/main" id="{FC1E9E63-AAC0-456A-B1D7-D880B0792B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4157" y="2086073"/>
            <a:ext cx="457201" cy="457201"/>
          </a:xfrm>
          <a:prstGeom prst="rect">
            <a:avLst/>
          </a:prstGeom>
        </p:spPr>
      </p:pic>
      <p:pic>
        <p:nvPicPr>
          <p:cNvPr id="45" name="Graphic 44" descr="Checkmark">
            <a:extLst>
              <a:ext uri="{FF2B5EF4-FFF2-40B4-BE49-F238E27FC236}">
                <a16:creationId xmlns:a16="http://schemas.microsoft.com/office/drawing/2014/main" id="{BAF66FA0-8A1C-4DB0-855F-1CD20272B9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55418" y="2895999"/>
            <a:ext cx="457201" cy="457201"/>
          </a:xfrm>
          <a:prstGeom prst="rect">
            <a:avLst/>
          </a:prstGeom>
        </p:spPr>
      </p:pic>
      <p:pic>
        <p:nvPicPr>
          <p:cNvPr id="46" name="Graphic 45" descr="Checkmark">
            <a:extLst>
              <a:ext uri="{FF2B5EF4-FFF2-40B4-BE49-F238E27FC236}">
                <a16:creationId xmlns:a16="http://schemas.microsoft.com/office/drawing/2014/main" id="{CE7F1826-8384-4DAC-ACEA-56CBEA9D07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51764" y="1653699"/>
            <a:ext cx="457201" cy="457201"/>
          </a:xfrm>
          <a:prstGeom prst="rect">
            <a:avLst/>
          </a:prstGeom>
        </p:spPr>
      </p:pic>
      <p:pic>
        <p:nvPicPr>
          <p:cNvPr id="47" name="Graphic 46" descr="Checkmark">
            <a:extLst>
              <a:ext uri="{FF2B5EF4-FFF2-40B4-BE49-F238E27FC236}">
                <a16:creationId xmlns:a16="http://schemas.microsoft.com/office/drawing/2014/main" id="{1463DCC1-7682-4195-818E-753FD0E8EB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4157" y="4551499"/>
            <a:ext cx="457201" cy="457201"/>
          </a:xfrm>
          <a:prstGeom prst="rect">
            <a:avLst/>
          </a:prstGeom>
        </p:spPr>
      </p:pic>
      <p:pic>
        <p:nvPicPr>
          <p:cNvPr id="48" name="Graphic 47" descr="Checkmark">
            <a:extLst>
              <a:ext uri="{FF2B5EF4-FFF2-40B4-BE49-F238E27FC236}">
                <a16:creationId xmlns:a16="http://schemas.microsoft.com/office/drawing/2014/main" id="{07F2D1EE-D353-4B74-89C8-06F39BEE917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51763" y="4953975"/>
            <a:ext cx="457201" cy="457201"/>
          </a:xfrm>
          <a:prstGeom prst="rect">
            <a:avLst/>
          </a:prstGeom>
        </p:spPr>
      </p:pic>
      <p:pic>
        <p:nvPicPr>
          <p:cNvPr id="49" name="Graphic 48" descr="Checkmark">
            <a:extLst>
              <a:ext uri="{FF2B5EF4-FFF2-40B4-BE49-F238E27FC236}">
                <a16:creationId xmlns:a16="http://schemas.microsoft.com/office/drawing/2014/main" id="{4DDB7E94-6DA3-40D0-9F3F-B1ABC9E1976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64157" y="5782646"/>
            <a:ext cx="457201" cy="457201"/>
          </a:xfrm>
          <a:prstGeom prst="rect">
            <a:avLst/>
          </a:prstGeom>
        </p:spPr>
      </p:pic>
      <p:pic>
        <p:nvPicPr>
          <p:cNvPr id="32" name="Graphic 31" descr="Checkmark">
            <a:extLst>
              <a:ext uri="{FF2B5EF4-FFF2-40B4-BE49-F238E27FC236}">
                <a16:creationId xmlns:a16="http://schemas.microsoft.com/office/drawing/2014/main" id="{DFA5167D-0623-41F6-AA9C-F1EDF0A9522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019926" y="1653699"/>
            <a:ext cx="457201" cy="457201"/>
          </a:xfrm>
          <a:prstGeom prst="rect">
            <a:avLst/>
          </a:prstGeom>
        </p:spPr>
      </p:pic>
      <p:pic>
        <p:nvPicPr>
          <p:cNvPr id="50" name="Graphic 49" descr="Checkmark">
            <a:extLst>
              <a:ext uri="{FF2B5EF4-FFF2-40B4-BE49-F238E27FC236}">
                <a16:creationId xmlns:a16="http://schemas.microsoft.com/office/drawing/2014/main" id="{1A3F3F10-F595-436E-9CAF-F1904E5503F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29648" y="1647133"/>
            <a:ext cx="457201" cy="457201"/>
          </a:xfrm>
          <a:prstGeom prst="rect">
            <a:avLst/>
          </a:prstGeom>
        </p:spPr>
      </p:pic>
      <p:pic>
        <p:nvPicPr>
          <p:cNvPr id="51" name="Graphic 50" descr="Checkmark">
            <a:extLst>
              <a:ext uri="{FF2B5EF4-FFF2-40B4-BE49-F238E27FC236}">
                <a16:creationId xmlns:a16="http://schemas.microsoft.com/office/drawing/2014/main" id="{17AF6F75-39CB-4B75-8A77-48570D0FB43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29648" y="2086073"/>
            <a:ext cx="457201" cy="457201"/>
          </a:xfrm>
          <a:prstGeom prst="rect">
            <a:avLst/>
          </a:prstGeom>
        </p:spPr>
      </p:pic>
      <p:pic>
        <p:nvPicPr>
          <p:cNvPr id="52" name="Graphic 51" descr="Checkmark">
            <a:extLst>
              <a:ext uri="{FF2B5EF4-FFF2-40B4-BE49-F238E27FC236}">
                <a16:creationId xmlns:a16="http://schemas.microsoft.com/office/drawing/2014/main" id="{A21E709D-815A-4C0E-A99A-F64CE2BF2C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29648" y="2895998"/>
            <a:ext cx="457201" cy="457201"/>
          </a:xfrm>
          <a:prstGeom prst="rect">
            <a:avLst/>
          </a:prstGeom>
        </p:spPr>
      </p:pic>
      <p:pic>
        <p:nvPicPr>
          <p:cNvPr id="53" name="Graphic 52" descr="Checkmark">
            <a:extLst>
              <a:ext uri="{FF2B5EF4-FFF2-40B4-BE49-F238E27FC236}">
                <a16:creationId xmlns:a16="http://schemas.microsoft.com/office/drawing/2014/main" id="{233D27EA-A56F-4A10-98EB-C1D67F1E8F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29648" y="4952264"/>
            <a:ext cx="457201" cy="457201"/>
          </a:xfrm>
          <a:prstGeom prst="rect">
            <a:avLst/>
          </a:prstGeom>
        </p:spPr>
      </p:pic>
    </p:spTree>
    <p:extLst>
      <p:ext uri="{BB962C8B-B14F-4D97-AF65-F5344CB8AC3E}">
        <p14:creationId xmlns:p14="http://schemas.microsoft.com/office/powerpoint/2010/main" val="16273219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4077551C-F944-4C5B-A7B6-117F7E286110}"/>
              </a:ext>
            </a:extLst>
          </p:cNvPr>
          <p:cNvCxnSpPr>
            <a:stCxn id="7" idx="6"/>
            <a:endCxn id="13" idx="2"/>
          </p:cNvCxnSpPr>
          <p:nvPr/>
        </p:nvCxnSpPr>
        <p:spPr>
          <a:xfrm>
            <a:off x="2709079" y="3536391"/>
            <a:ext cx="6623119"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9FC3CB07-55E5-4DE0-B9B4-93D2BE78832C}"/>
              </a:ext>
            </a:extLst>
          </p:cNvPr>
          <p:cNvSpPr>
            <a:spLocks noGrp="1"/>
          </p:cNvSpPr>
          <p:nvPr>
            <p:ph type="sldNum" sz="quarter" idx="4294967295"/>
          </p:nvPr>
        </p:nvSpPr>
        <p:spPr>
          <a:xfrm>
            <a:off x="10210800" y="6454776"/>
            <a:ext cx="457200" cy="365125"/>
          </a:xfrm>
        </p:spPr>
        <p:txBody>
          <a:bodyPr/>
          <a:lstStyle/>
          <a:p>
            <a:fld id="{0D76ED6D-61E4-47B1-B71F-B65993433194}" type="slidenum">
              <a:rPr lang="en-US" smtClean="0"/>
              <a:t>14</a:t>
            </a:fld>
            <a:endParaRPr lang="en-US"/>
          </a:p>
        </p:txBody>
      </p:sp>
      <p:sp>
        <p:nvSpPr>
          <p:cNvPr id="7" name="Oval 6">
            <a:extLst>
              <a:ext uri="{FF2B5EF4-FFF2-40B4-BE49-F238E27FC236}">
                <a16:creationId xmlns:a16="http://schemas.microsoft.com/office/drawing/2014/main" id="{20FD87E8-4A09-4850-B0F5-81300BC5C3EC}"/>
              </a:ext>
            </a:extLst>
          </p:cNvPr>
          <p:cNvSpPr/>
          <p:nvPr/>
        </p:nvSpPr>
        <p:spPr>
          <a:xfrm>
            <a:off x="2038349" y="3201027"/>
            <a:ext cx="754876" cy="761372"/>
          </a:xfrm>
          <a:prstGeom prst="ellipse">
            <a:avLst/>
          </a:prstGeom>
          <a:solidFill>
            <a:srgbClr val="FC661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25" b="1" dirty="0">
                <a:latin typeface="Century Gothic" panose="020B0502020202020204" pitchFamily="34" charset="0"/>
              </a:rPr>
              <a:t>Order</a:t>
            </a:r>
          </a:p>
        </p:txBody>
      </p:sp>
      <p:sp>
        <p:nvSpPr>
          <p:cNvPr id="11" name="Oval 10">
            <a:extLst>
              <a:ext uri="{FF2B5EF4-FFF2-40B4-BE49-F238E27FC236}">
                <a16:creationId xmlns:a16="http://schemas.microsoft.com/office/drawing/2014/main" id="{9D55354A-1803-44CE-B028-D2A9037B2722}"/>
              </a:ext>
            </a:extLst>
          </p:cNvPr>
          <p:cNvSpPr/>
          <p:nvPr/>
        </p:nvSpPr>
        <p:spPr>
          <a:xfrm>
            <a:off x="4343401" y="3201026"/>
            <a:ext cx="804909" cy="761374"/>
          </a:xfrm>
          <a:prstGeom prst="ellipse">
            <a:avLst/>
          </a:prstGeom>
          <a:solidFill>
            <a:srgbClr val="FC661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25" b="1" dirty="0">
                <a:latin typeface="Century Gothic" panose="020B0502020202020204" pitchFamily="34" charset="0"/>
              </a:rPr>
              <a:t>Invoice/ credit</a:t>
            </a:r>
          </a:p>
        </p:txBody>
      </p:sp>
      <p:sp>
        <p:nvSpPr>
          <p:cNvPr id="12" name="Oval 11">
            <a:extLst>
              <a:ext uri="{FF2B5EF4-FFF2-40B4-BE49-F238E27FC236}">
                <a16:creationId xmlns:a16="http://schemas.microsoft.com/office/drawing/2014/main" id="{AB7A1642-1685-4FF7-98A4-9E5BF370FCE4}"/>
              </a:ext>
            </a:extLst>
          </p:cNvPr>
          <p:cNvSpPr/>
          <p:nvPr/>
        </p:nvSpPr>
        <p:spPr>
          <a:xfrm>
            <a:off x="6915565" y="3201027"/>
            <a:ext cx="780635" cy="761373"/>
          </a:xfrm>
          <a:prstGeom prst="ellipse">
            <a:avLst/>
          </a:prstGeom>
          <a:solidFill>
            <a:srgbClr val="FC661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25" b="1" dirty="0">
                <a:latin typeface="Century Gothic" panose="020B0502020202020204" pitchFamily="34" charset="0"/>
              </a:rPr>
              <a:t>Ledger</a:t>
            </a:r>
          </a:p>
        </p:txBody>
      </p:sp>
      <p:sp>
        <p:nvSpPr>
          <p:cNvPr id="13" name="Oval 12">
            <a:extLst>
              <a:ext uri="{FF2B5EF4-FFF2-40B4-BE49-F238E27FC236}">
                <a16:creationId xmlns:a16="http://schemas.microsoft.com/office/drawing/2014/main" id="{589CF664-90C0-47D2-B809-EE3619B84A1B}"/>
              </a:ext>
            </a:extLst>
          </p:cNvPr>
          <p:cNvSpPr/>
          <p:nvPr/>
        </p:nvSpPr>
        <p:spPr>
          <a:xfrm>
            <a:off x="9296400" y="3200401"/>
            <a:ext cx="761370" cy="761999"/>
          </a:xfrm>
          <a:prstGeom prst="ellipse">
            <a:avLst/>
          </a:prstGeom>
          <a:solidFill>
            <a:srgbClr val="FC661E"/>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25" b="1" dirty="0">
                <a:latin typeface="Century Gothic" panose="020B0502020202020204" pitchFamily="34" charset="0"/>
              </a:rPr>
              <a:t>Report</a:t>
            </a:r>
          </a:p>
        </p:txBody>
      </p:sp>
      <p:sp>
        <p:nvSpPr>
          <p:cNvPr id="17" name="TextBox 16">
            <a:extLst>
              <a:ext uri="{FF2B5EF4-FFF2-40B4-BE49-F238E27FC236}">
                <a16:creationId xmlns:a16="http://schemas.microsoft.com/office/drawing/2014/main" id="{34442D84-020A-402D-8051-8E47721D5F90}"/>
              </a:ext>
            </a:extLst>
          </p:cNvPr>
          <p:cNvSpPr txBox="1"/>
          <p:nvPr/>
        </p:nvSpPr>
        <p:spPr>
          <a:xfrm>
            <a:off x="2769369" y="2974940"/>
            <a:ext cx="685800" cy="685800"/>
          </a:xfrm>
          <a:prstGeom prst="rect">
            <a:avLst/>
          </a:prstGeom>
        </p:spPr>
        <p:txBody>
          <a:bodyPr vert="horz" wrap="none" lIns="0" tIns="0" rIns="0" bIns="0" rtlCol="0">
            <a:noAutofit/>
          </a:bodyPr>
          <a:lstStyle/>
          <a:p>
            <a:pPr algn="l"/>
            <a:endParaRPr lang="en-GB" dirty="0">
              <a:latin typeface="Century Gothic" panose="020B0502020202020204" pitchFamily="34" charset="0"/>
            </a:endParaRPr>
          </a:p>
        </p:txBody>
      </p:sp>
      <p:sp>
        <p:nvSpPr>
          <p:cNvPr id="18" name="TextBox 17">
            <a:extLst>
              <a:ext uri="{FF2B5EF4-FFF2-40B4-BE49-F238E27FC236}">
                <a16:creationId xmlns:a16="http://schemas.microsoft.com/office/drawing/2014/main" id="{0AB1EB0D-FA8A-45D2-A12A-6C43E8330FA8}"/>
              </a:ext>
            </a:extLst>
          </p:cNvPr>
          <p:cNvSpPr txBox="1"/>
          <p:nvPr/>
        </p:nvSpPr>
        <p:spPr>
          <a:xfrm>
            <a:off x="2918211" y="4947956"/>
            <a:ext cx="685800" cy="685800"/>
          </a:xfrm>
          <a:prstGeom prst="rect">
            <a:avLst/>
          </a:prstGeom>
        </p:spPr>
        <p:txBody>
          <a:bodyPr vert="horz" wrap="none" lIns="0" tIns="0" rIns="0" bIns="0" rtlCol="0">
            <a:noAutofit/>
          </a:bodyPr>
          <a:lstStyle/>
          <a:p>
            <a:pPr algn="l"/>
            <a:r>
              <a:rPr lang="en-GB" dirty="0">
                <a:latin typeface="Century Gothic" panose="020B0502020202020204" pitchFamily="34" charset="0"/>
              </a:rPr>
              <a:t>Brazil</a:t>
            </a:r>
          </a:p>
          <a:p>
            <a:pPr algn="l"/>
            <a:r>
              <a:rPr lang="en-GB" dirty="0">
                <a:latin typeface="Century Gothic" panose="020B0502020202020204" pitchFamily="34" charset="0"/>
              </a:rPr>
              <a:t>China</a:t>
            </a:r>
          </a:p>
        </p:txBody>
      </p:sp>
      <p:sp>
        <p:nvSpPr>
          <p:cNvPr id="19" name="TextBox 18">
            <a:extLst>
              <a:ext uri="{FF2B5EF4-FFF2-40B4-BE49-F238E27FC236}">
                <a16:creationId xmlns:a16="http://schemas.microsoft.com/office/drawing/2014/main" id="{996B6C09-0308-457B-B222-C88C6D556871}"/>
              </a:ext>
            </a:extLst>
          </p:cNvPr>
          <p:cNvSpPr txBox="1"/>
          <p:nvPr/>
        </p:nvSpPr>
        <p:spPr>
          <a:xfrm>
            <a:off x="5319768" y="4915527"/>
            <a:ext cx="685800" cy="685800"/>
          </a:xfrm>
          <a:prstGeom prst="rect">
            <a:avLst/>
          </a:prstGeom>
        </p:spPr>
        <p:txBody>
          <a:bodyPr vert="horz" wrap="none" lIns="0" tIns="0" rIns="0" bIns="0" rtlCol="0">
            <a:noAutofit/>
          </a:bodyPr>
          <a:lstStyle/>
          <a:p>
            <a:pPr algn="l"/>
            <a:r>
              <a:rPr lang="en-GB" dirty="0">
                <a:latin typeface="Century Gothic" panose="020B0502020202020204" pitchFamily="34" charset="0"/>
              </a:rPr>
              <a:t>Italy</a:t>
            </a:r>
          </a:p>
        </p:txBody>
      </p:sp>
      <p:sp>
        <p:nvSpPr>
          <p:cNvPr id="20" name="TextBox 19">
            <a:extLst>
              <a:ext uri="{FF2B5EF4-FFF2-40B4-BE49-F238E27FC236}">
                <a16:creationId xmlns:a16="http://schemas.microsoft.com/office/drawing/2014/main" id="{ACF3EAFB-27ED-45F5-8419-6831794C6CFA}"/>
              </a:ext>
            </a:extLst>
          </p:cNvPr>
          <p:cNvSpPr txBox="1"/>
          <p:nvPr/>
        </p:nvSpPr>
        <p:spPr>
          <a:xfrm>
            <a:off x="6019800" y="2443844"/>
            <a:ext cx="685800" cy="685800"/>
          </a:xfrm>
          <a:prstGeom prst="rect">
            <a:avLst/>
          </a:prstGeom>
        </p:spPr>
        <p:txBody>
          <a:bodyPr vert="horz" wrap="none" lIns="0" tIns="0" rIns="0" bIns="0" rtlCol="0">
            <a:noAutofit/>
          </a:bodyPr>
          <a:lstStyle/>
          <a:p>
            <a:pPr algn="l"/>
            <a:r>
              <a:rPr lang="en-GB" dirty="0">
                <a:latin typeface="Century Gothic" panose="020B0502020202020204" pitchFamily="34" charset="0"/>
              </a:rPr>
              <a:t>Hungary</a:t>
            </a:r>
          </a:p>
        </p:txBody>
      </p:sp>
      <p:sp>
        <p:nvSpPr>
          <p:cNvPr id="22" name="TextBox 21">
            <a:extLst>
              <a:ext uri="{FF2B5EF4-FFF2-40B4-BE49-F238E27FC236}">
                <a16:creationId xmlns:a16="http://schemas.microsoft.com/office/drawing/2014/main" id="{4482054A-0846-497D-B457-E8B39B4080C9}"/>
              </a:ext>
            </a:extLst>
          </p:cNvPr>
          <p:cNvSpPr txBox="1"/>
          <p:nvPr/>
        </p:nvSpPr>
        <p:spPr>
          <a:xfrm>
            <a:off x="2999225" y="3866725"/>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Invoice authorisation”</a:t>
            </a:r>
          </a:p>
        </p:txBody>
      </p:sp>
      <p:sp>
        <p:nvSpPr>
          <p:cNvPr id="23" name="TextBox 22">
            <a:extLst>
              <a:ext uri="{FF2B5EF4-FFF2-40B4-BE49-F238E27FC236}">
                <a16:creationId xmlns:a16="http://schemas.microsoft.com/office/drawing/2014/main" id="{718E165D-7AFD-42AD-B835-70297B90B076}"/>
              </a:ext>
            </a:extLst>
          </p:cNvPr>
          <p:cNvSpPr txBox="1"/>
          <p:nvPr/>
        </p:nvSpPr>
        <p:spPr>
          <a:xfrm>
            <a:off x="5736148" y="3866724"/>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Pre-clearance”</a:t>
            </a:r>
          </a:p>
        </p:txBody>
      </p:sp>
      <p:sp>
        <p:nvSpPr>
          <p:cNvPr id="24" name="TextBox 23">
            <a:extLst>
              <a:ext uri="{FF2B5EF4-FFF2-40B4-BE49-F238E27FC236}">
                <a16:creationId xmlns:a16="http://schemas.microsoft.com/office/drawing/2014/main" id="{09401E61-8A07-4420-973E-097A72A92B84}"/>
              </a:ext>
            </a:extLst>
          </p:cNvPr>
          <p:cNvSpPr txBox="1"/>
          <p:nvPr/>
        </p:nvSpPr>
        <p:spPr>
          <a:xfrm>
            <a:off x="8122624" y="3866724"/>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Post-clearance”</a:t>
            </a:r>
          </a:p>
        </p:txBody>
      </p:sp>
      <p:sp>
        <p:nvSpPr>
          <p:cNvPr id="26" name="Diamond 25">
            <a:extLst>
              <a:ext uri="{FF2B5EF4-FFF2-40B4-BE49-F238E27FC236}">
                <a16:creationId xmlns:a16="http://schemas.microsoft.com/office/drawing/2014/main" id="{29B7ED55-7F10-42B6-8468-AD0A725359C2}"/>
              </a:ext>
            </a:extLst>
          </p:cNvPr>
          <p:cNvSpPr/>
          <p:nvPr/>
        </p:nvSpPr>
        <p:spPr>
          <a:xfrm>
            <a:off x="3261100" y="3290620"/>
            <a:ext cx="627394" cy="519380"/>
          </a:xfrm>
          <a:prstGeom prst="diamond">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latin typeface="Century Gothic" panose="020B0502020202020204" pitchFamily="34" charset="0"/>
              </a:rPr>
              <a:t>Bill</a:t>
            </a:r>
          </a:p>
        </p:txBody>
      </p:sp>
      <p:cxnSp>
        <p:nvCxnSpPr>
          <p:cNvPr id="30" name="Straight Arrow Connector 29">
            <a:extLst>
              <a:ext uri="{FF2B5EF4-FFF2-40B4-BE49-F238E27FC236}">
                <a16:creationId xmlns:a16="http://schemas.microsoft.com/office/drawing/2014/main" id="{C90F4ABB-2F16-4754-A826-7DAAB5F00BC5}"/>
              </a:ext>
            </a:extLst>
          </p:cNvPr>
          <p:cNvCxnSpPr>
            <a:cxnSpLocks/>
          </p:cNvCxnSpPr>
          <p:nvPr/>
        </p:nvCxnSpPr>
        <p:spPr>
          <a:xfrm flipV="1">
            <a:off x="3121370" y="4173207"/>
            <a:ext cx="0" cy="643509"/>
          </a:xfrm>
          <a:prstGeom prst="straightConnector1">
            <a:avLst/>
          </a:prstGeom>
          <a:ln w="5715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Diamond 31">
            <a:extLst>
              <a:ext uri="{FF2B5EF4-FFF2-40B4-BE49-F238E27FC236}">
                <a16:creationId xmlns:a16="http://schemas.microsoft.com/office/drawing/2014/main" id="{C7C035A1-CB52-4F6E-B125-432B44699A7F}"/>
              </a:ext>
            </a:extLst>
          </p:cNvPr>
          <p:cNvSpPr/>
          <p:nvPr/>
        </p:nvSpPr>
        <p:spPr>
          <a:xfrm>
            <a:off x="5604881" y="3209836"/>
            <a:ext cx="717204" cy="600165"/>
          </a:xfrm>
          <a:prstGeom prst="diamond">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latin typeface="Century Gothic" panose="020B0502020202020204" pitchFamily="34" charset="0"/>
              </a:rPr>
              <a:t>Post</a:t>
            </a:r>
          </a:p>
        </p:txBody>
      </p:sp>
      <p:sp>
        <p:nvSpPr>
          <p:cNvPr id="36" name="Diamond 35">
            <a:extLst>
              <a:ext uri="{FF2B5EF4-FFF2-40B4-BE49-F238E27FC236}">
                <a16:creationId xmlns:a16="http://schemas.microsoft.com/office/drawing/2014/main" id="{0C6BD15D-16DC-4A22-9BE4-412E806F77C3}"/>
              </a:ext>
            </a:extLst>
          </p:cNvPr>
          <p:cNvSpPr/>
          <p:nvPr/>
        </p:nvSpPr>
        <p:spPr>
          <a:xfrm>
            <a:off x="8287794" y="3290621"/>
            <a:ext cx="551406" cy="519379"/>
          </a:xfrm>
          <a:prstGeom prst="diamond">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b="1" dirty="0">
              <a:latin typeface="Century Gothic" panose="020B0502020202020204" pitchFamily="34" charset="0"/>
            </a:endParaRPr>
          </a:p>
        </p:txBody>
      </p:sp>
      <p:cxnSp>
        <p:nvCxnSpPr>
          <p:cNvPr id="37" name="Straight Arrow Connector 36">
            <a:extLst>
              <a:ext uri="{FF2B5EF4-FFF2-40B4-BE49-F238E27FC236}">
                <a16:creationId xmlns:a16="http://schemas.microsoft.com/office/drawing/2014/main" id="{12E3C82C-927F-4510-90E4-93AF7BB8CD78}"/>
              </a:ext>
            </a:extLst>
          </p:cNvPr>
          <p:cNvCxnSpPr>
            <a:cxnSpLocks/>
          </p:cNvCxnSpPr>
          <p:nvPr/>
        </p:nvCxnSpPr>
        <p:spPr>
          <a:xfrm flipH="1" flipV="1">
            <a:off x="8518093" y="4173627"/>
            <a:ext cx="14628" cy="643088"/>
          </a:xfrm>
          <a:prstGeom prst="straightConnector1">
            <a:avLst/>
          </a:prstGeom>
          <a:ln w="5715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921CD683-F8C6-43A3-B79B-49EAC6D3B246}"/>
              </a:ext>
            </a:extLst>
          </p:cNvPr>
          <p:cNvCxnSpPr>
            <a:cxnSpLocks/>
          </p:cNvCxnSpPr>
          <p:nvPr/>
        </p:nvCxnSpPr>
        <p:spPr>
          <a:xfrm flipV="1">
            <a:off x="5449133" y="4153324"/>
            <a:ext cx="0" cy="643509"/>
          </a:xfrm>
          <a:prstGeom prst="straightConnector1">
            <a:avLst/>
          </a:prstGeom>
          <a:ln w="5715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66E35E0-063F-4EE8-B0CB-E446DAA8A164}"/>
              </a:ext>
            </a:extLst>
          </p:cNvPr>
          <p:cNvCxnSpPr>
            <a:cxnSpLocks/>
          </p:cNvCxnSpPr>
          <p:nvPr/>
        </p:nvCxnSpPr>
        <p:spPr>
          <a:xfrm flipV="1">
            <a:off x="6520539" y="2785492"/>
            <a:ext cx="0" cy="643509"/>
          </a:xfrm>
          <a:prstGeom prst="straightConnector1">
            <a:avLst/>
          </a:prstGeom>
          <a:ln w="5715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22F4F4FC-87CC-49ED-8F0C-FEFEC61E1E42}"/>
              </a:ext>
            </a:extLst>
          </p:cNvPr>
          <p:cNvSpPr txBox="1"/>
          <p:nvPr/>
        </p:nvSpPr>
        <p:spPr>
          <a:xfrm>
            <a:off x="8347750" y="4947956"/>
            <a:ext cx="685800" cy="685800"/>
          </a:xfrm>
          <a:prstGeom prst="rect">
            <a:avLst/>
          </a:prstGeom>
        </p:spPr>
        <p:txBody>
          <a:bodyPr vert="horz" wrap="none" lIns="0" tIns="0" rIns="0" bIns="0" rtlCol="0">
            <a:noAutofit/>
          </a:bodyPr>
          <a:lstStyle/>
          <a:p>
            <a:pPr algn="l"/>
            <a:r>
              <a:rPr lang="en-GB" dirty="0">
                <a:latin typeface="Century Gothic" panose="020B0502020202020204" pitchFamily="34" charset="0"/>
              </a:rPr>
              <a:t>Spain</a:t>
            </a:r>
          </a:p>
        </p:txBody>
      </p:sp>
      <p:sp>
        <p:nvSpPr>
          <p:cNvPr id="35" name="TextBox 34">
            <a:extLst>
              <a:ext uri="{FF2B5EF4-FFF2-40B4-BE49-F238E27FC236}">
                <a16:creationId xmlns:a16="http://schemas.microsoft.com/office/drawing/2014/main" id="{6CBC6433-CB7E-4428-8962-03294B29F147}"/>
              </a:ext>
            </a:extLst>
          </p:cNvPr>
          <p:cNvSpPr txBox="1"/>
          <p:nvPr/>
        </p:nvSpPr>
        <p:spPr>
          <a:xfrm>
            <a:off x="3686746" y="5070948"/>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Call to GVT to get </a:t>
            </a:r>
          </a:p>
          <a:p>
            <a:pPr algn="l"/>
            <a:r>
              <a:rPr lang="en-GB" sz="900" dirty="0">
                <a:latin typeface="Century Gothic" panose="020B0502020202020204" pitchFamily="34" charset="0"/>
              </a:rPr>
              <a:t>permission to issue </a:t>
            </a:r>
          </a:p>
          <a:p>
            <a:pPr algn="l"/>
            <a:r>
              <a:rPr lang="en-GB" sz="900" dirty="0">
                <a:latin typeface="Century Gothic" panose="020B0502020202020204" pitchFamily="34" charset="0"/>
              </a:rPr>
              <a:t>invoice</a:t>
            </a:r>
          </a:p>
        </p:txBody>
      </p:sp>
      <p:sp>
        <p:nvSpPr>
          <p:cNvPr id="38" name="TextBox 37">
            <a:extLst>
              <a:ext uri="{FF2B5EF4-FFF2-40B4-BE49-F238E27FC236}">
                <a16:creationId xmlns:a16="http://schemas.microsoft.com/office/drawing/2014/main" id="{DBD4F286-38E7-4C35-8AA6-36085C1A418B}"/>
              </a:ext>
            </a:extLst>
          </p:cNvPr>
          <p:cNvSpPr txBox="1"/>
          <p:nvPr/>
        </p:nvSpPr>
        <p:spPr>
          <a:xfrm>
            <a:off x="6043255" y="4950850"/>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Invoice issued</a:t>
            </a:r>
          </a:p>
          <a:p>
            <a:pPr algn="l"/>
            <a:r>
              <a:rPr lang="en-GB" sz="900" dirty="0">
                <a:latin typeface="Century Gothic" panose="020B0502020202020204" pitchFamily="34" charset="0"/>
              </a:rPr>
              <a:t>through GVT</a:t>
            </a:r>
          </a:p>
        </p:txBody>
      </p:sp>
      <p:sp>
        <p:nvSpPr>
          <p:cNvPr id="40" name="TextBox 39">
            <a:extLst>
              <a:ext uri="{FF2B5EF4-FFF2-40B4-BE49-F238E27FC236}">
                <a16:creationId xmlns:a16="http://schemas.microsoft.com/office/drawing/2014/main" id="{7B5C4589-75BA-43F1-9CDA-58765D056462}"/>
              </a:ext>
            </a:extLst>
          </p:cNvPr>
          <p:cNvSpPr txBox="1"/>
          <p:nvPr/>
        </p:nvSpPr>
        <p:spPr>
          <a:xfrm>
            <a:off x="6981507" y="2469273"/>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Copy of invoice sent </a:t>
            </a:r>
          </a:p>
          <a:p>
            <a:pPr algn="l"/>
            <a:r>
              <a:rPr lang="en-GB" sz="900" dirty="0">
                <a:latin typeface="Century Gothic" panose="020B0502020202020204" pitchFamily="34" charset="0"/>
              </a:rPr>
              <a:t>to GVT immediately</a:t>
            </a:r>
          </a:p>
        </p:txBody>
      </p:sp>
      <p:sp>
        <p:nvSpPr>
          <p:cNvPr id="41" name="TextBox 40">
            <a:extLst>
              <a:ext uri="{FF2B5EF4-FFF2-40B4-BE49-F238E27FC236}">
                <a16:creationId xmlns:a16="http://schemas.microsoft.com/office/drawing/2014/main" id="{77F15CBA-05AF-46F7-9471-C1AACAA7B32C}"/>
              </a:ext>
            </a:extLst>
          </p:cNvPr>
          <p:cNvSpPr txBox="1"/>
          <p:nvPr/>
        </p:nvSpPr>
        <p:spPr>
          <a:xfrm>
            <a:off x="9033550" y="4942409"/>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 High frequency batches </a:t>
            </a:r>
          </a:p>
          <a:p>
            <a:pPr algn="l"/>
            <a:r>
              <a:rPr lang="en-GB" sz="900" dirty="0">
                <a:latin typeface="Century Gothic" panose="020B0502020202020204" pitchFamily="34" charset="0"/>
              </a:rPr>
              <a:t>of invoices sent to GVT</a:t>
            </a:r>
          </a:p>
        </p:txBody>
      </p:sp>
      <p:cxnSp>
        <p:nvCxnSpPr>
          <p:cNvPr id="42" name="Straight Connector 41">
            <a:extLst>
              <a:ext uri="{FF2B5EF4-FFF2-40B4-BE49-F238E27FC236}">
                <a16:creationId xmlns:a16="http://schemas.microsoft.com/office/drawing/2014/main" id="{5DC294A3-D55D-4799-B445-79E2B3624CC7}"/>
              </a:ext>
            </a:extLst>
          </p:cNvPr>
          <p:cNvCxnSpPr>
            <a:cxnSpLocks/>
          </p:cNvCxnSpPr>
          <p:nvPr/>
        </p:nvCxnSpPr>
        <p:spPr>
          <a:xfrm>
            <a:off x="2209801" y="2252714"/>
            <a:ext cx="3027071"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0D36F29-2214-40B0-A31D-C8505E932989}"/>
              </a:ext>
            </a:extLst>
          </p:cNvPr>
          <p:cNvCxnSpPr>
            <a:cxnSpLocks/>
          </p:cNvCxnSpPr>
          <p:nvPr/>
        </p:nvCxnSpPr>
        <p:spPr>
          <a:xfrm>
            <a:off x="6103240" y="2252714"/>
            <a:ext cx="330369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7D42479-37D1-41BE-9E21-13C3C67196A0}"/>
              </a:ext>
            </a:extLst>
          </p:cNvPr>
          <p:cNvSpPr txBox="1"/>
          <p:nvPr/>
        </p:nvSpPr>
        <p:spPr>
          <a:xfrm>
            <a:off x="6955132" y="2057401"/>
            <a:ext cx="1562961" cy="428631"/>
          </a:xfrm>
          <a:prstGeom prst="rect">
            <a:avLst/>
          </a:prstGeom>
          <a:solidFill>
            <a:schemeClr val="bg1"/>
          </a:solidFill>
        </p:spPr>
        <p:txBody>
          <a:bodyPr vert="horz" wrap="none" lIns="0" tIns="0" rIns="0" bIns="0" rtlCol="0">
            <a:noAutofit/>
          </a:bodyPr>
          <a:lstStyle>
            <a:defPPr>
              <a:defRPr lang="en-US"/>
            </a:defPPr>
            <a:lvl1pPr>
              <a:defRPr>
                <a:solidFill>
                  <a:srgbClr val="0070C0"/>
                </a:solidFill>
              </a:defRPr>
            </a:lvl1pPr>
          </a:lstStyle>
          <a:p>
            <a:pPr algn="ctr"/>
            <a:r>
              <a:rPr lang="en-GB" dirty="0">
                <a:latin typeface="Century Gothic" panose="020B0502020202020204" pitchFamily="34" charset="0"/>
              </a:rPr>
              <a:t>Live reporting</a:t>
            </a:r>
          </a:p>
        </p:txBody>
      </p:sp>
      <p:sp>
        <p:nvSpPr>
          <p:cNvPr id="31" name="TextBox 30">
            <a:extLst>
              <a:ext uri="{FF2B5EF4-FFF2-40B4-BE49-F238E27FC236}">
                <a16:creationId xmlns:a16="http://schemas.microsoft.com/office/drawing/2014/main" id="{21F0BD2B-959F-46E0-A69B-50B585224F88}"/>
              </a:ext>
            </a:extLst>
          </p:cNvPr>
          <p:cNvSpPr txBox="1"/>
          <p:nvPr/>
        </p:nvSpPr>
        <p:spPr>
          <a:xfrm>
            <a:off x="3036919" y="2074787"/>
            <a:ext cx="1358391" cy="391679"/>
          </a:xfrm>
          <a:prstGeom prst="rect">
            <a:avLst/>
          </a:prstGeom>
          <a:solidFill>
            <a:schemeClr val="bg1"/>
          </a:solidFill>
        </p:spPr>
        <p:txBody>
          <a:bodyPr vert="horz" wrap="none" lIns="0" tIns="0" rIns="0" bIns="0" rtlCol="0">
            <a:noAutofit/>
          </a:bodyPr>
          <a:lstStyle>
            <a:defPPr>
              <a:defRPr lang="en-US"/>
            </a:defPPr>
            <a:lvl1pPr>
              <a:defRPr>
                <a:solidFill>
                  <a:srgbClr val="0070C0"/>
                </a:solidFill>
              </a:defRPr>
            </a:lvl1pPr>
          </a:lstStyle>
          <a:p>
            <a:pPr algn="ctr"/>
            <a:r>
              <a:rPr lang="en-GB" dirty="0">
                <a:latin typeface="Century Gothic" panose="020B0502020202020204" pitchFamily="34" charset="0"/>
              </a:rPr>
              <a:t>E-Invoicing</a:t>
            </a:r>
          </a:p>
        </p:txBody>
      </p:sp>
      <p:sp>
        <p:nvSpPr>
          <p:cNvPr id="46" name="TextBox 45">
            <a:extLst>
              <a:ext uri="{FF2B5EF4-FFF2-40B4-BE49-F238E27FC236}">
                <a16:creationId xmlns:a16="http://schemas.microsoft.com/office/drawing/2014/main" id="{FB0C2AA4-9933-4586-8F6A-3C521D6F387F}"/>
              </a:ext>
            </a:extLst>
          </p:cNvPr>
          <p:cNvSpPr txBox="1"/>
          <p:nvPr/>
        </p:nvSpPr>
        <p:spPr>
          <a:xfrm>
            <a:off x="3617827" y="2992235"/>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Digital seal recorded on invoice</a:t>
            </a:r>
          </a:p>
        </p:txBody>
      </p:sp>
      <p:sp>
        <p:nvSpPr>
          <p:cNvPr id="34" name="TextBox 33">
            <a:extLst>
              <a:ext uri="{FF2B5EF4-FFF2-40B4-BE49-F238E27FC236}">
                <a16:creationId xmlns:a16="http://schemas.microsoft.com/office/drawing/2014/main" id="{E42DCB32-DF01-224C-BBAB-89C7F39CC34C}"/>
              </a:ext>
            </a:extLst>
          </p:cNvPr>
          <p:cNvSpPr txBox="1"/>
          <p:nvPr/>
        </p:nvSpPr>
        <p:spPr>
          <a:xfrm>
            <a:off x="5325409" y="5252795"/>
            <a:ext cx="685800" cy="685800"/>
          </a:xfrm>
          <a:prstGeom prst="rect">
            <a:avLst/>
          </a:prstGeom>
        </p:spPr>
        <p:txBody>
          <a:bodyPr vert="horz" wrap="none" lIns="0" tIns="0" rIns="0" bIns="0" rtlCol="0">
            <a:noAutofit/>
          </a:bodyPr>
          <a:lstStyle/>
          <a:p>
            <a:pPr algn="l"/>
            <a:r>
              <a:rPr lang="en-GB" dirty="0"/>
              <a:t>India</a:t>
            </a:r>
          </a:p>
        </p:txBody>
      </p:sp>
      <p:sp>
        <p:nvSpPr>
          <p:cNvPr id="43" name="TextBox 42">
            <a:extLst>
              <a:ext uri="{FF2B5EF4-FFF2-40B4-BE49-F238E27FC236}">
                <a16:creationId xmlns:a16="http://schemas.microsoft.com/office/drawing/2014/main" id="{769ECF0A-5F17-0442-B97F-30AFE102881F}"/>
              </a:ext>
            </a:extLst>
          </p:cNvPr>
          <p:cNvSpPr txBox="1"/>
          <p:nvPr/>
        </p:nvSpPr>
        <p:spPr>
          <a:xfrm>
            <a:off x="6019800" y="5288118"/>
            <a:ext cx="1209572" cy="257077"/>
          </a:xfrm>
          <a:prstGeom prst="rect">
            <a:avLst/>
          </a:prstGeom>
        </p:spPr>
        <p:txBody>
          <a:bodyPr vert="horz" wrap="none" lIns="0" tIns="0" rIns="0" bIns="0" rtlCol="0">
            <a:noAutofit/>
          </a:bodyPr>
          <a:lstStyle/>
          <a:p>
            <a:pPr algn="l"/>
            <a:r>
              <a:rPr lang="en-GB" sz="900" dirty="0">
                <a:latin typeface="Century Gothic" panose="020B0502020202020204" pitchFamily="34" charset="0"/>
              </a:rPr>
              <a:t>Proposal invoice issued</a:t>
            </a:r>
          </a:p>
          <a:p>
            <a:pPr algn="l"/>
            <a:r>
              <a:rPr lang="en-GB" sz="900" dirty="0">
                <a:latin typeface="Century Gothic" panose="020B0502020202020204" pitchFamily="34" charset="0"/>
              </a:rPr>
              <a:t>through GSTN</a:t>
            </a:r>
          </a:p>
        </p:txBody>
      </p:sp>
      <p:sp>
        <p:nvSpPr>
          <p:cNvPr id="45" name="Title 5">
            <a:extLst>
              <a:ext uri="{FF2B5EF4-FFF2-40B4-BE49-F238E27FC236}">
                <a16:creationId xmlns:a16="http://schemas.microsoft.com/office/drawing/2014/main" id="{C83B0883-31DF-402B-AC7C-42BA485832B9}"/>
              </a:ext>
            </a:extLst>
          </p:cNvPr>
          <p:cNvSpPr txBox="1">
            <a:spLocks/>
          </p:cNvSpPr>
          <p:nvPr/>
        </p:nvSpPr>
        <p:spPr bwMode="auto">
          <a:xfrm>
            <a:off x="2038349" y="651411"/>
            <a:ext cx="82677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US"/>
            </a:defPPr>
            <a:lvl1pPr algn="r" eaLnBrk="0" fontAlgn="base" hangingPunct="0">
              <a:spcBef>
                <a:spcPct val="0"/>
              </a:spcBef>
              <a:spcAft>
                <a:spcPct val="0"/>
              </a:spcAft>
              <a:defRPr sz="3100" b="1" i="1">
                <a:solidFill>
                  <a:schemeClr val="accent1">
                    <a:tint val="88000"/>
                    <a:satMod val="150000"/>
                  </a:schemeClr>
                </a:solidFill>
                <a:effectLst>
                  <a:outerShdw blurRad="53975" dist="22860" dir="5400000" algn="tl" rotWithShape="0">
                    <a:srgbClr val="000000">
                      <a:alpha val="55000"/>
                    </a:srgbClr>
                  </a:outerShdw>
                </a:effectLst>
                <a:latin typeface="Century Gothic" panose="020B0502020202020204" pitchFamily="34" charset="0"/>
                <a:ea typeface="+mj-ea"/>
                <a:cs typeface="+mj-cs"/>
              </a:defRPr>
            </a:lvl1pPr>
            <a:lvl2pPr eaLnBrk="0" fontAlgn="base" hangingPunct="0">
              <a:spcBef>
                <a:spcPct val="0"/>
              </a:spcBef>
              <a:spcAft>
                <a:spcPct val="0"/>
              </a:spcAft>
              <a:defRPr sz="2200" i="1">
                <a:solidFill>
                  <a:srgbClr val="004B8D"/>
                </a:solidFill>
                <a:latin typeface="Adobe Garamond Pro" pitchFamily="18" charset="0"/>
              </a:defRPr>
            </a:lvl2pPr>
            <a:lvl3pPr eaLnBrk="0" fontAlgn="base" hangingPunct="0">
              <a:spcBef>
                <a:spcPct val="0"/>
              </a:spcBef>
              <a:spcAft>
                <a:spcPct val="0"/>
              </a:spcAft>
              <a:defRPr sz="2200" i="1">
                <a:solidFill>
                  <a:srgbClr val="004B8D"/>
                </a:solidFill>
                <a:latin typeface="Adobe Garamond Pro" pitchFamily="18" charset="0"/>
              </a:defRPr>
            </a:lvl3pPr>
            <a:lvl4pPr eaLnBrk="0" fontAlgn="base" hangingPunct="0">
              <a:spcBef>
                <a:spcPct val="0"/>
              </a:spcBef>
              <a:spcAft>
                <a:spcPct val="0"/>
              </a:spcAft>
              <a:defRPr sz="2200" i="1">
                <a:solidFill>
                  <a:srgbClr val="004B8D"/>
                </a:solidFill>
                <a:latin typeface="Adobe Garamond Pro" pitchFamily="18" charset="0"/>
              </a:defRPr>
            </a:lvl4pPr>
            <a:lvl5pPr eaLnBrk="0" fontAlgn="base" hangingPunct="0">
              <a:spcBef>
                <a:spcPct val="0"/>
              </a:spcBef>
              <a:spcAft>
                <a:spcPct val="0"/>
              </a:spcAft>
              <a:defRPr sz="2200" i="1">
                <a:solidFill>
                  <a:srgbClr val="004B8D"/>
                </a:solidFill>
                <a:latin typeface="Adobe Garamond Pro" pitchFamily="18" charset="0"/>
              </a:defRPr>
            </a:lvl5pPr>
            <a:lvl6pPr marL="457200" fontAlgn="base">
              <a:spcBef>
                <a:spcPct val="0"/>
              </a:spcBef>
              <a:spcAft>
                <a:spcPct val="0"/>
              </a:spcAft>
              <a:defRPr sz="3200">
                <a:solidFill>
                  <a:srgbClr val="004B8D"/>
                </a:solidFill>
                <a:latin typeface="Constantia" pitchFamily="18" charset="0"/>
              </a:defRPr>
            </a:lvl6pPr>
            <a:lvl7pPr marL="914400" fontAlgn="base">
              <a:spcBef>
                <a:spcPct val="0"/>
              </a:spcBef>
              <a:spcAft>
                <a:spcPct val="0"/>
              </a:spcAft>
              <a:defRPr sz="3200">
                <a:solidFill>
                  <a:srgbClr val="004B8D"/>
                </a:solidFill>
                <a:latin typeface="Constantia" pitchFamily="18" charset="0"/>
              </a:defRPr>
            </a:lvl7pPr>
            <a:lvl8pPr marL="1371600" fontAlgn="base">
              <a:spcBef>
                <a:spcPct val="0"/>
              </a:spcBef>
              <a:spcAft>
                <a:spcPct val="0"/>
              </a:spcAft>
              <a:defRPr sz="3200">
                <a:solidFill>
                  <a:srgbClr val="004B8D"/>
                </a:solidFill>
                <a:latin typeface="Constantia" pitchFamily="18" charset="0"/>
              </a:defRPr>
            </a:lvl8pPr>
            <a:lvl9pPr marL="1828800" fontAlgn="base">
              <a:spcBef>
                <a:spcPct val="0"/>
              </a:spcBef>
              <a:spcAft>
                <a:spcPct val="0"/>
              </a:spcAft>
              <a:defRPr sz="3200">
                <a:solidFill>
                  <a:srgbClr val="004B8D"/>
                </a:solidFill>
                <a:latin typeface="Constantia" pitchFamily="18" charset="0"/>
              </a:defRPr>
            </a:lvl9pPr>
          </a:lstStyle>
          <a:p>
            <a:r>
              <a:rPr lang="en-US" i="0" dirty="0"/>
              <a:t>Administrative Considerations –</a:t>
            </a:r>
          </a:p>
          <a:p>
            <a:r>
              <a:rPr lang="en-US" i="0" dirty="0"/>
              <a:t>Types of Live e-Reporting</a:t>
            </a:r>
          </a:p>
        </p:txBody>
      </p:sp>
    </p:spTree>
    <p:extLst>
      <p:ext uri="{BB962C8B-B14F-4D97-AF65-F5344CB8AC3E}">
        <p14:creationId xmlns:p14="http://schemas.microsoft.com/office/powerpoint/2010/main" val="16198644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E0BF-9413-47BB-B217-6A36BE3DE2E1}"/>
              </a:ext>
            </a:extLst>
          </p:cNvPr>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36575316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6C55E4-B697-41BE-8AE2-E7FA05AF2635}"/>
              </a:ext>
            </a:extLst>
          </p:cNvPr>
          <p:cNvSpPr>
            <a:spLocks noGrp="1"/>
          </p:cNvSpPr>
          <p:nvPr>
            <p:ph type="sldNum" sz="quarter" idx="12"/>
          </p:nvPr>
        </p:nvSpPr>
        <p:spPr/>
        <p:txBody>
          <a:bodyPr/>
          <a:lstStyle/>
          <a:p>
            <a:fld id="{0D76ED6D-61E4-47B1-B71F-B65993433194}" type="slidenum">
              <a:rPr lang="en-US" smtClean="0"/>
              <a:t>2</a:t>
            </a:fld>
            <a:endParaRPr lang="en-US" dirty="0"/>
          </a:p>
        </p:txBody>
      </p:sp>
      <p:sp>
        <p:nvSpPr>
          <p:cNvPr id="4" name="Text Placeholder 3">
            <a:extLst>
              <a:ext uri="{FF2B5EF4-FFF2-40B4-BE49-F238E27FC236}">
                <a16:creationId xmlns:a16="http://schemas.microsoft.com/office/drawing/2014/main" id="{F0D3524F-D4CB-4002-959E-89459567E873}"/>
              </a:ext>
            </a:extLst>
          </p:cNvPr>
          <p:cNvSpPr>
            <a:spLocks noGrp="1"/>
          </p:cNvSpPr>
          <p:nvPr>
            <p:ph type="body" sz="quarter" idx="14"/>
          </p:nvPr>
        </p:nvSpPr>
        <p:spPr>
          <a:xfrm>
            <a:off x="4406899" y="1931154"/>
            <a:ext cx="6511925" cy="2995692"/>
          </a:xfrm>
        </p:spPr>
        <p:txBody>
          <a:bodyPr/>
          <a:lstStyle/>
          <a:p>
            <a:pPr marL="342900" indent="-342900">
              <a:buFont typeface="Wingdings" panose="05000000000000000000" pitchFamily="2" charset="2"/>
              <a:buChar char="ü"/>
            </a:pPr>
            <a:r>
              <a:rPr lang="en-US" dirty="0">
                <a:latin typeface="Calibri" panose="020F0502020204030204" pitchFamily="34" charset="0"/>
                <a:cs typeface="Calibri" panose="020F0502020204030204" pitchFamily="34" charset="0"/>
              </a:rPr>
              <a:t>Joined Avalara in 2012</a:t>
            </a:r>
          </a:p>
          <a:p>
            <a:pPr marL="342900" indent="-342900">
              <a:buFont typeface="Wingdings" panose="05000000000000000000" pitchFamily="2" charset="2"/>
              <a:buChar char="ü"/>
            </a:pPr>
            <a:r>
              <a:rPr lang="en-US" dirty="0">
                <a:latin typeface="Calibri" panose="020F0502020204030204" pitchFamily="34" charset="0"/>
                <a:cs typeface="Calibri" panose="020F0502020204030204" pitchFamily="34" charset="0"/>
              </a:rPr>
              <a:t>Previously served as the Executive Director of the Streamlined Sales Tax Governing Board, Inc. and the Director of the South Dakota Sales Tax Division</a:t>
            </a:r>
          </a:p>
          <a:p>
            <a:pPr marL="342900" indent="-342900">
              <a:buFont typeface="Wingdings" panose="05000000000000000000" pitchFamily="2" charset="2"/>
              <a:buChar char="ü"/>
            </a:pPr>
            <a:r>
              <a:rPr lang="en-US" i="1" dirty="0">
                <a:latin typeface="Calibri" panose="020F0502020204030204" pitchFamily="34" charset="0"/>
                <a:cs typeface="Calibri" panose="020F0502020204030204" pitchFamily="34" charset="0"/>
              </a:rPr>
              <a:t>Accounting Today’s </a:t>
            </a:r>
            <a:r>
              <a:rPr lang="en-US" dirty="0">
                <a:latin typeface="Calibri" panose="020F0502020204030204" pitchFamily="34" charset="0"/>
                <a:cs typeface="Calibri" panose="020F0502020204030204" pitchFamily="34" charset="0"/>
              </a:rPr>
              <a:t>100 Most Influential People in Accounting – 2018</a:t>
            </a:r>
          </a:p>
        </p:txBody>
      </p:sp>
      <p:sp>
        <p:nvSpPr>
          <p:cNvPr id="5" name="Text Placeholder 4">
            <a:extLst>
              <a:ext uri="{FF2B5EF4-FFF2-40B4-BE49-F238E27FC236}">
                <a16:creationId xmlns:a16="http://schemas.microsoft.com/office/drawing/2014/main" id="{C90AEF32-31D5-42F8-955C-FD5D2CA2252D}"/>
              </a:ext>
            </a:extLst>
          </p:cNvPr>
          <p:cNvSpPr>
            <a:spLocks noGrp="1"/>
          </p:cNvSpPr>
          <p:nvPr>
            <p:ph type="body" sz="quarter" idx="15"/>
          </p:nvPr>
        </p:nvSpPr>
        <p:spPr>
          <a:xfrm>
            <a:off x="330708" y="3244334"/>
            <a:ext cx="2803017" cy="276999"/>
          </a:xfrm>
        </p:spPr>
        <p:txBody>
          <a:bodyPr/>
          <a:lstStyle/>
          <a:p>
            <a:r>
              <a:rPr lang="en-US" dirty="0">
                <a:latin typeface="Calibri" panose="020F0502020204030204" pitchFamily="34" charset="0"/>
                <a:cs typeface="Calibri" panose="020F0502020204030204" pitchFamily="34" charset="0"/>
              </a:rPr>
              <a:t>Scott Peterson</a:t>
            </a:r>
          </a:p>
        </p:txBody>
      </p:sp>
      <p:sp>
        <p:nvSpPr>
          <p:cNvPr id="6" name="Text Placeholder 5">
            <a:extLst>
              <a:ext uri="{FF2B5EF4-FFF2-40B4-BE49-F238E27FC236}">
                <a16:creationId xmlns:a16="http://schemas.microsoft.com/office/drawing/2014/main" id="{56C1CDB8-DC89-406C-8BA9-C5BA890FB2CC}"/>
              </a:ext>
            </a:extLst>
          </p:cNvPr>
          <p:cNvSpPr>
            <a:spLocks noGrp="1"/>
          </p:cNvSpPr>
          <p:nvPr>
            <p:ph type="body" sz="quarter" idx="16"/>
          </p:nvPr>
        </p:nvSpPr>
        <p:spPr>
          <a:xfrm>
            <a:off x="330708" y="3634331"/>
            <a:ext cx="2803017" cy="492443"/>
          </a:xfrm>
        </p:spPr>
        <p:txBody>
          <a:bodyPr/>
          <a:lstStyle/>
          <a:p>
            <a:r>
              <a:rPr lang="en-US" dirty="0">
                <a:latin typeface="Calibri" panose="020F0502020204030204" pitchFamily="34" charset="0"/>
                <a:cs typeface="Calibri" panose="020F0502020204030204" pitchFamily="34" charset="0"/>
              </a:rPr>
              <a:t>Vice President of U.S. Tax Policy and Government Relations</a:t>
            </a:r>
          </a:p>
        </p:txBody>
      </p:sp>
      <p:sp>
        <p:nvSpPr>
          <p:cNvPr id="7" name="Text Placeholder 6">
            <a:extLst>
              <a:ext uri="{FF2B5EF4-FFF2-40B4-BE49-F238E27FC236}">
                <a16:creationId xmlns:a16="http://schemas.microsoft.com/office/drawing/2014/main" id="{02AFBF68-CFCE-46D7-89BE-F7CD9C234B83}"/>
              </a:ext>
            </a:extLst>
          </p:cNvPr>
          <p:cNvSpPr>
            <a:spLocks noGrp="1"/>
          </p:cNvSpPr>
          <p:nvPr>
            <p:ph type="body" sz="quarter" idx="17"/>
          </p:nvPr>
        </p:nvSpPr>
        <p:spPr>
          <a:xfrm>
            <a:off x="330708" y="4761336"/>
            <a:ext cx="2803017" cy="246221"/>
          </a:xfrm>
        </p:spPr>
        <p:txBody>
          <a:bodyPr/>
          <a:lstStyle/>
          <a:p>
            <a:r>
              <a:rPr lang="en-US" dirty="0">
                <a:latin typeface="Calibri" panose="020F0502020204030204" pitchFamily="34" charset="0"/>
                <a:cs typeface="Calibri" panose="020F0502020204030204" pitchFamily="34" charset="0"/>
              </a:rPr>
              <a:t>Avalara</a:t>
            </a:r>
          </a:p>
        </p:txBody>
      </p:sp>
      <p:pic>
        <p:nvPicPr>
          <p:cNvPr id="12" name="Picture Placeholder 11">
            <a:extLst>
              <a:ext uri="{FF2B5EF4-FFF2-40B4-BE49-F238E27FC236}">
                <a16:creationId xmlns:a16="http://schemas.microsoft.com/office/drawing/2014/main" id="{F265EA24-CE56-456D-A709-2543C20DBFA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585" r="585"/>
          <a:stretch>
            <a:fillRect/>
          </a:stretch>
        </p:blipFill>
        <p:spPr/>
      </p:pic>
    </p:spTree>
    <p:extLst>
      <p:ext uri="{BB962C8B-B14F-4D97-AF65-F5344CB8AC3E}">
        <p14:creationId xmlns:p14="http://schemas.microsoft.com/office/powerpoint/2010/main" val="15220700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75A9EB46-C82B-4D99-96B2-86C2968D2617}"/>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6207" r="16207"/>
          <a:stretch>
            <a:fillRect/>
          </a:stretch>
        </p:blipFill>
        <p:spPr/>
      </p:pic>
      <p:sp>
        <p:nvSpPr>
          <p:cNvPr id="3" name="Slide Number Placeholder 2">
            <a:extLst>
              <a:ext uri="{FF2B5EF4-FFF2-40B4-BE49-F238E27FC236}">
                <a16:creationId xmlns:a16="http://schemas.microsoft.com/office/drawing/2014/main" id="{607380DD-0BD9-4551-AF01-411E4F930E77}"/>
              </a:ext>
            </a:extLst>
          </p:cNvPr>
          <p:cNvSpPr>
            <a:spLocks noGrp="1"/>
          </p:cNvSpPr>
          <p:nvPr>
            <p:ph type="sldNum" sz="quarter" idx="12"/>
          </p:nvPr>
        </p:nvSpPr>
        <p:spPr/>
        <p:txBody>
          <a:bodyPr/>
          <a:lstStyle/>
          <a:p>
            <a:fld id="{C7927A04-FFAB-4E77-8A60-75CB67674673}" type="slidenum">
              <a:rPr lang="en-US" smtClean="0"/>
              <a:pPr/>
              <a:t>3</a:t>
            </a:fld>
            <a:endParaRPr lang="en-US" dirty="0"/>
          </a:p>
        </p:txBody>
      </p:sp>
      <p:sp>
        <p:nvSpPr>
          <p:cNvPr id="4" name="Content Placeholder 3">
            <a:extLst>
              <a:ext uri="{FF2B5EF4-FFF2-40B4-BE49-F238E27FC236}">
                <a16:creationId xmlns:a16="http://schemas.microsoft.com/office/drawing/2014/main" id="{36E23F53-26F3-442B-BE07-04AA8BB1E35C}"/>
              </a:ext>
            </a:extLst>
          </p:cNvPr>
          <p:cNvSpPr>
            <a:spLocks noGrp="1"/>
          </p:cNvSpPr>
          <p:nvPr>
            <p:ph idx="1"/>
          </p:nvPr>
        </p:nvSpPr>
        <p:spPr/>
        <p:txBody>
          <a:bodyPr/>
          <a:lstStyle/>
          <a:p>
            <a:pPr marL="342900" indent="-342900">
              <a:buFont typeface="Wingdings" charset="2"/>
              <a:buChar char="ü"/>
            </a:pPr>
            <a:r>
              <a:rPr lang="en-US" sz="2600" b="1" dirty="0"/>
              <a:t>HQ </a:t>
            </a:r>
            <a:r>
              <a:rPr lang="en-US" sz="2600" dirty="0"/>
              <a:t>in Seattle with offices in in the U.S., Canada, Europe, Brazil, and, India</a:t>
            </a:r>
            <a:endParaRPr lang="en-US" sz="2600" b="1" dirty="0"/>
          </a:p>
          <a:p>
            <a:pPr marL="342900" indent="-342900">
              <a:buFont typeface="Wingdings" charset="2"/>
              <a:buChar char="ü"/>
            </a:pPr>
            <a:r>
              <a:rPr lang="en-US" sz="2600" b="1" dirty="0"/>
              <a:t>25,000+ </a:t>
            </a:r>
            <a:r>
              <a:rPr lang="en-US" sz="2600" dirty="0"/>
              <a:t>customers</a:t>
            </a:r>
          </a:p>
          <a:p>
            <a:pPr marL="342900" indent="-342900">
              <a:buFont typeface="Wingdings" charset="2"/>
              <a:buChar char="ü"/>
            </a:pPr>
            <a:r>
              <a:rPr lang="en-US" sz="2600" b="1" dirty="0"/>
              <a:t>1,600+ </a:t>
            </a:r>
            <a:r>
              <a:rPr lang="en-US" sz="2600" dirty="0"/>
              <a:t>partners</a:t>
            </a:r>
          </a:p>
          <a:p>
            <a:pPr marL="342900" indent="-342900">
              <a:buFont typeface="Wingdings" charset="2"/>
              <a:buChar char="ü"/>
            </a:pPr>
            <a:r>
              <a:rPr lang="en-US" sz="2600" b="1" dirty="0"/>
              <a:t>700+ </a:t>
            </a:r>
            <a:r>
              <a:rPr lang="en-US" sz="2600" dirty="0"/>
              <a:t>pre-built integrations</a:t>
            </a:r>
          </a:p>
          <a:p>
            <a:pPr marL="342900" indent="-342900">
              <a:buFont typeface="Wingdings" charset="2"/>
              <a:buChar char="ü"/>
            </a:pPr>
            <a:r>
              <a:rPr lang="en-US" sz="2600" b="1" dirty="0"/>
              <a:t>9.5B </a:t>
            </a:r>
            <a:r>
              <a:rPr lang="en-US" sz="2600" dirty="0"/>
              <a:t>transactions processed in 2018</a:t>
            </a:r>
          </a:p>
          <a:p>
            <a:pPr marL="342900" indent="-342900">
              <a:buFont typeface="Wingdings" charset="2"/>
              <a:buChar char="ü"/>
            </a:pPr>
            <a:r>
              <a:rPr lang="en-US" sz="2600" b="1" dirty="0"/>
              <a:t>1M+ </a:t>
            </a:r>
            <a:r>
              <a:rPr lang="en-US" sz="2600" dirty="0"/>
              <a:t>returns processed in 2018</a:t>
            </a:r>
          </a:p>
          <a:p>
            <a:pPr marL="342900" indent="-342900">
              <a:buFont typeface="Wingdings" charset="2"/>
              <a:buChar char="ü"/>
            </a:pPr>
            <a:r>
              <a:rPr lang="en-US" sz="2600" b="1" dirty="0"/>
              <a:t>$36.2B </a:t>
            </a:r>
            <a:r>
              <a:rPr lang="en-US" sz="2600" dirty="0"/>
              <a:t>prepared for remittance in 2018</a:t>
            </a:r>
          </a:p>
        </p:txBody>
      </p:sp>
      <p:sp>
        <p:nvSpPr>
          <p:cNvPr id="5" name="Subtitle 4">
            <a:extLst>
              <a:ext uri="{FF2B5EF4-FFF2-40B4-BE49-F238E27FC236}">
                <a16:creationId xmlns:a16="http://schemas.microsoft.com/office/drawing/2014/main" id="{CA56D397-AB70-4798-A71F-0830809FD95E}"/>
              </a:ext>
            </a:extLst>
          </p:cNvPr>
          <p:cNvSpPr>
            <a:spLocks noGrp="1"/>
          </p:cNvSpPr>
          <p:nvPr>
            <p:ph type="subTitle" idx="15"/>
          </p:nvPr>
        </p:nvSpPr>
        <p:spPr/>
        <p:txBody>
          <a:bodyPr/>
          <a:lstStyle/>
          <a:p>
            <a:r>
              <a:rPr lang="en-US" dirty="0"/>
              <a:t>What we’re up to</a:t>
            </a:r>
          </a:p>
        </p:txBody>
      </p:sp>
      <p:sp>
        <p:nvSpPr>
          <p:cNvPr id="6" name="Title 5">
            <a:extLst>
              <a:ext uri="{FF2B5EF4-FFF2-40B4-BE49-F238E27FC236}">
                <a16:creationId xmlns:a16="http://schemas.microsoft.com/office/drawing/2014/main" id="{520B4696-8ED3-4407-9591-04E63F5CCA2E}"/>
              </a:ext>
            </a:extLst>
          </p:cNvPr>
          <p:cNvSpPr>
            <a:spLocks noGrp="1"/>
          </p:cNvSpPr>
          <p:nvPr>
            <p:ph type="title"/>
          </p:nvPr>
        </p:nvSpPr>
        <p:spPr/>
        <p:txBody>
          <a:bodyPr/>
          <a:lstStyle/>
          <a:p>
            <a:r>
              <a:rPr lang="en-US" dirty="0"/>
              <a:t>Avalara</a:t>
            </a:r>
          </a:p>
        </p:txBody>
      </p:sp>
    </p:spTree>
    <p:extLst>
      <p:ext uri="{BB962C8B-B14F-4D97-AF65-F5344CB8AC3E}">
        <p14:creationId xmlns:p14="http://schemas.microsoft.com/office/powerpoint/2010/main" val="13894763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BC5F0-3E38-4CF4-93D0-8E3CBB7D5B44}"/>
              </a:ext>
            </a:extLst>
          </p:cNvPr>
          <p:cNvSpPr>
            <a:spLocks noGrp="1"/>
          </p:cNvSpPr>
          <p:nvPr>
            <p:ph type="title"/>
          </p:nvPr>
        </p:nvSpPr>
        <p:spPr>
          <a:xfrm>
            <a:off x="1080950" y="1005515"/>
            <a:ext cx="4818017" cy="1006736"/>
          </a:xfrm>
        </p:spPr>
        <p:txBody>
          <a:bodyPr vert="horz" lIns="91440" tIns="45720" rIns="91440" bIns="45720" rtlCol="0" anchor="t">
            <a:normAutofit fontScale="90000"/>
          </a:bodyPr>
          <a:lstStyle/>
          <a:p>
            <a:pPr>
              <a:buNone/>
            </a:pPr>
            <a:r>
              <a:rPr lang="en-US" sz="4800" dirty="0"/>
              <a:t>Teamwork makes </a:t>
            </a:r>
            <a:r>
              <a:rPr lang="en-US" sz="4800" b="1" i="1" dirty="0"/>
              <a:t>Dreamwork</a:t>
            </a:r>
            <a:endParaRPr lang="en-US" sz="4800" b="1" i="1" dirty="0">
              <a:latin typeface="+mj-lt"/>
            </a:endParaRPr>
          </a:p>
        </p:txBody>
      </p:sp>
      <p:pic>
        <p:nvPicPr>
          <p:cNvPr id="6" name="Picture 5">
            <a:extLst>
              <a:ext uri="{FF2B5EF4-FFF2-40B4-BE49-F238E27FC236}">
                <a16:creationId xmlns:a16="http://schemas.microsoft.com/office/drawing/2014/main" id="{38ECF89B-7008-403D-BE40-19FEE648D85E}"/>
              </a:ext>
            </a:extLst>
          </p:cNvPr>
          <p:cNvPicPr>
            <a:picLocks noChangeAspect="1"/>
          </p:cNvPicPr>
          <p:nvPr/>
        </p:nvPicPr>
        <p:blipFill rotWithShape="1">
          <a:blip r:embed="rId3"/>
          <a:srcRect l="7030" r="27725"/>
          <a:stretch/>
        </p:blipFill>
        <p:spPr>
          <a:xfrm>
            <a:off x="6293034" y="822998"/>
            <a:ext cx="5898965" cy="6035004"/>
          </a:xfrm>
          <a:custGeom>
            <a:avLst/>
            <a:gdLst>
              <a:gd name="connsiteX0" fmla="*/ 3397813 w 6170914"/>
              <a:gd name="connsiteY0" fmla="*/ 0 h 6313225"/>
              <a:gd name="connsiteX1" fmla="*/ 6019731 w 6170914"/>
              <a:gd name="connsiteY1" fmla="*/ 1236489 h 6313225"/>
              <a:gd name="connsiteX2" fmla="*/ 6170914 w 6170914"/>
              <a:gd name="connsiteY2" fmla="*/ 1438663 h 6313225"/>
              <a:gd name="connsiteX3" fmla="*/ 6170914 w 6170914"/>
              <a:gd name="connsiteY3" fmla="*/ 5356963 h 6313225"/>
              <a:gd name="connsiteX4" fmla="*/ 6019731 w 6170914"/>
              <a:gd name="connsiteY4" fmla="*/ 5559138 h 6313225"/>
              <a:gd name="connsiteX5" fmla="*/ 5194591 w 6170914"/>
              <a:gd name="connsiteY5" fmla="*/ 6282226 h 6313225"/>
              <a:gd name="connsiteX6" fmla="*/ 5141791 w 6170914"/>
              <a:gd name="connsiteY6" fmla="*/ 6313225 h 6313225"/>
              <a:gd name="connsiteX7" fmla="*/ 1659199 w 6170914"/>
              <a:gd name="connsiteY7" fmla="*/ 6313225 h 6313225"/>
              <a:gd name="connsiteX8" fmla="*/ 1498064 w 6170914"/>
              <a:gd name="connsiteY8" fmla="*/ 6215333 h 6313225"/>
              <a:gd name="connsiteX9" fmla="*/ 0 w 6170914"/>
              <a:gd name="connsiteY9" fmla="*/ 3397813 h 6313225"/>
              <a:gd name="connsiteX10" fmla="*/ 3397813 w 6170914"/>
              <a:gd name="connsiteY10" fmla="*/ 0 h 63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p:spPr>
      </p:pic>
      <p:sp>
        <p:nvSpPr>
          <p:cNvPr id="7" name="Isosceles Triangle 6">
            <a:extLst>
              <a:ext uri="{FF2B5EF4-FFF2-40B4-BE49-F238E27FC236}">
                <a16:creationId xmlns:a16="http://schemas.microsoft.com/office/drawing/2014/main" id="{EB5B7375-2457-4F8A-A4A9-CA3115ECE9CA}"/>
              </a:ext>
            </a:extLst>
          </p:cNvPr>
          <p:cNvSpPr/>
          <p:nvPr/>
        </p:nvSpPr>
        <p:spPr>
          <a:xfrm rot="5400000">
            <a:off x="329242" y="1149104"/>
            <a:ext cx="715281" cy="521387"/>
          </a:xfrm>
          <a:prstGeom prst="triangle">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8CDD5F6-4FB1-47CB-8E76-C27F9EA2796D}"/>
              </a:ext>
            </a:extLst>
          </p:cNvPr>
          <p:cNvSpPr txBox="1"/>
          <p:nvPr/>
        </p:nvSpPr>
        <p:spPr>
          <a:xfrm>
            <a:off x="737827" y="2687383"/>
            <a:ext cx="5230509" cy="3165102"/>
          </a:xfrm>
          <a:prstGeom prst="rect">
            <a:avLst/>
          </a:prstGeom>
        </p:spPr>
        <p:txBody>
          <a:bodyPr vert="horz" wrap="square" lIns="0" tIns="0" rIns="0" bIns="0" rtlCol="0">
            <a:noAutofit/>
          </a:bodyPr>
          <a:lstStyle/>
          <a:p>
            <a:r>
              <a:rPr lang="en-US" sz="2800" dirty="0"/>
              <a:t>▪ Compliance / Processors</a:t>
            </a:r>
            <a:br>
              <a:rPr lang="en-US" sz="2800" dirty="0"/>
            </a:br>
            <a:r>
              <a:rPr lang="en-US" sz="2800" dirty="0"/>
              <a:t>▪ Treasury - Global Payments Team</a:t>
            </a:r>
            <a:br>
              <a:rPr lang="en-US" sz="2800" dirty="0"/>
            </a:br>
            <a:r>
              <a:rPr lang="en-US" sz="2800" dirty="0"/>
              <a:t>▪ Content (Rates and Boundaries)</a:t>
            </a:r>
            <a:br>
              <a:rPr lang="en-US" sz="2800" dirty="0"/>
            </a:br>
            <a:r>
              <a:rPr lang="en-US" sz="2800" dirty="0"/>
              <a:t>▪ Reconciliation Team</a:t>
            </a:r>
            <a:br>
              <a:rPr lang="en-US" sz="2800" dirty="0"/>
            </a:br>
            <a:r>
              <a:rPr lang="en-US" sz="2800" dirty="0"/>
              <a:t>▪ Support Team</a:t>
            </a:r>
            <a:br>
              <a:rPr lang="en-US" sz="2800" dirty="0"/>
            </a:br>
            <a:r>
              <a:rPr lang="en-US" sz="2800" dirty="0"/>
              <a:t>▪ Engineering Team with a focus toward Automation</a:t>
            </a:r>
            <a:br>
              <a:rPr lang="en-US" sz="2800" dirty="0"/>
            </a:br>
            <a:r>
              <a:rPr lang="en-US" sz="2800" dirty="0"/>
              <a:t>▪ Developers / Mappers</a:t>
            </a:r>
          </a:p>
        </p:txBody>
      </p:sp>
    </p:spTree>
    <p:extLst>
      <p:ext uri="{BB962C8B-B14F-4D97-AF65-F5344CB8AC3E}">
        <p14:creationId xmlns:p14="http://schemas.microsoft.com/office/powerpoint/2010/main" val="31664123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FA58B-ECB8-46CD-87EF-53E0F4FF42CC}"/>
              </a:ext>
            </a:extLst>
          </p:cNvPr>
          <p:cNvSpPr>
            <a:spLocks noGrp="1"/>
          </p:cNvSpPr>
          <p:nvPr>
            <p:ph type="title"/>
          </p:nvPr>
        </p:nvSpPr>
        <p:spPr>
          <a:xfrm>
            <a:off x="533705" y="775787"/>
            <a:ext cx="10820400" cy="552415"/>
          </a:xfrm>
        </p:spPr>
        <p:txBody>
          <a:bodyPr>
            <a:normAutofit fontScale="90000"/>
          </a:bodyPr>
          <a:lstStyle/>
          <a:p>
            <a:r>
              <a:rPr lang="en-US" dirty="0">
                <a:solidFill>
                  <a:schemeClr val="tx2">
                    <a:lumMod val="50000"/>
                  </a:schemeClr>
                </a:solidFill>
              </a:rPr>
              <a:t>2019 Returns Highlights </a:t>
            </a:r>
            <a:br>
              <a:rPr lang="en-US" dirty="0">
                <a:solidFill>
                  <a:schemeClr val="tx2"/>
                </a:solidFill>
              </a:rPr>
            </a:br>
            <a:endParaRPr lang="en-US" dirty="0"/>
          </a:p>
        </p:txBody>
      </p:sp>
      <p:sp>
        <p:nvSpPr>
          <p:cNvPr id="4" name="Slide Number Placeholder 3">
            <a:extLst>
              <a:ext uri="{FF2B5EF4-FFF2-40B4-BE49-F238E27FC236}">
                <a16:creationId xmlns:a16="http://schemas.microsoft.com/office/drawing/2014/main" id="{C9190290-230D-4403-B675-1339EE5D3C54}"/>
              </a:ext>
            </a:extLst>
          </p:cNvPr>
          <p:cNvSpPr>
            <a:spLocks noGrp="1"/>
          </p:cNvSpPr>
          <p:nvPr>
            <p:ph type="sldNum" sz="quarter" idx="12"/>
          </p:nvPr>
        </p:nvSpPr>
        <p:spPr/>
        <p:txBody>
          <a:bodyPr/>
          <a:lstStyle/>
          <a:p>
            <a:fld id="{C7927A04-FFAB-4E77-8A60-75CB67674673}" type="slidenum">
              <a:rPr lang="en-US" smtClean="0"/>
              <a:pPr/>
              <a:t>5</a:t>
            </a:fld>
            <a:endParaRPr lang="en-US" dirty="0"/>
          </a:p>
        </p:txBody>
      </p:sp>
      <p:grpSp>
        <p:nvGrpSpPr>
          <p:cNvPr id="26" name="Group 25">
            <a:extLst>
              <a:ext uri="{FF2B5EF4-FFF2-40B4-BE49-F238E27FC236}">
                <a16:creationId xmlns:a16="http://schemas.microsoft.com/office/drawing/2014/main" id="{43749D27-EB15-4CCE-AF8B-61983F859BEB}"/>
              </a:ext>
            </a:extLst>
          </p:cNvPr>
          <p:cNvGrpSpPr/>
          <p:nvPr/>
        </p:nvGrpSpPr>
        <p:grpSpPr>
          <a:xfrm>
            <a:off x="-139432" y="910605"/>
            <a:ext cx="10362570" cy="4808445"/>
            <a:chOff x="346427" y="982607"/>
            <a:chExt cx="10106272" cy="4808445"/>
          </a:xfrm>
        </p:grpSpPr>
        <p:grpSp>
          <p:nvGrpSpPr>
            <p:cNvPr id="27" name="Group 26">
              <a:extLst>
                <a:ext uri="{FF2B5EF4-FFF2-40B4-BE49-F238E27FC236}">
                  <a16:creationId xmlns:a16="http://schemas.microsoft.com/office/drawing/2014/main" id="{FDD19CCC-9668-458E-8655-656A0D3F2222}"/>
                </a:ext>
              </a:extLst>
            </p:cNvPr>
            <p:cNvGrpSpPr/>
            <p:nvPr/>
          </p:nvGrpSpPr>
          <p:grpSpPr>
            <a:xfrm>
              <a:off x="346427" y="982607"/>
              <a:ext cx="10106271" cy="4808445"/>
              <a:chOff x="194027" y="794337"/>
              <a:chExt cx="10106271" cy="4808445"/>
            </a:xfrm>
          </p:grpSpPr>
          <p:cxnSp>
            <p:nvCxnSpPr>
              <p:cNvPr id="29" name="Straight Connector 28">
                <a:extLst>
                  <a:ext uri="{FF2B5EF4-FFF2-40B4-BE49-F238E27FC236}">
                    <a16:creationId xmlns:a16="http://schemas.microsoft.com/office/drawing/2014/main" id="{464E14AB-6E9D-4E43-B55A-F4E593D8A0BD}"/>
                  </a:ext>
                </a:extLst>
              </p:cNvPr>
              <p:cNvCxnSpPr>
                <a:cxnSpLocks/>
              </p:cNvCxnSpPr>
              <p:nvPr/>
            </p:nvCxnSpPr>
            <p:spPr>
              <a:xfrm>
                <a:off x="2485429" y="2083209"/>
                <a:ext cx="7509472" cy="0"/>
              </a:xfrm>
              <a:prstGeom prst="line">
                <a:avLst/>
              </a:prstGeom>
              <a:noFill/>
              <a:ln w="9525" cap="flat" cmpd="sng" algn="ctr">
                <a:solidFill>
                  <a:srgbClr val="FC661E"/>
                </a:solidFill>
                <a:prstDash val="solid"/>
              </a:ln>
              <a:effectLst/>
            </p:spPr>
          </p:cxnSp>
          <p:cxnSp>
            <p:nvCxnSpPr>
              <p:cNvPr id="30" name="Straight Connector 29">
                <a:extLst>
                  <a:ext uri="{FF2B5EF4-FFF2-40B4-BE49-F238E27FC236}">
                    <a16:creationId xmlns:a16="http://schemas.microsoft.com/office/drawing/2014/main" id="{1CB52C24-FD73-4FBC-8121-E7E62393AD4E}"/>
                  </a:ext>
                </a:extLst>
              </p:cNvPr>
              <p:cNvCxnSpPr>
                <a:cxnSpLocks/>
              </p:cNvCxnSpPr>
              <p:nvPr/>
            </p:nvCxnSpPr>
            <p:spPr>
              <a:xfrm>
                <a:off x="2341882" y="3337941"/>
                <a:ext cx="7715035" cy="0"/>
              </a:xfrm>
              <a:prstGeom prst="line">
                <a:avLst/>
              </a:prstGeom>
              <a:noFill/>
              <a:ln w="9525" cap="flat" cmpd="sng" algn="ctr">
                <a:solidFill>
                  <a:srgbClr val="FC661E"/>
                </a:solidFill>
                <a:prstDash val="solid"/>
              </a:ln>
              <a:effectLst/>
            </p:spPr>
          </p:cxnSp>
          <p:grpSp>
            <p:nvGrpSpPr>
              <p:cNvPr id="31" name="Group 30">
                <a:extLst>
                  <a:ext uri="{FF2B5EF4-FFF2-40B4-BE49-F238E27FC236}">
                    <a16:creationId xmlns:a16="http://schemas.microsoft.com/office/drawing/2014/main" id="{5921A6FE-7EED-441D-936E-934467570555}"/>
                  </a:ext>
                </a:extLst>
              </p:cNvPr>
              <p:cNvGrpSpPr/>
              <p:nvPr/>
            </p:nvGrpSpPr>
            <p:grpSpPr>
              <a:xfrm>
                <a:off x="194027" y="794337"/>
                <a:ext cx="10106271" cy="4808445"/>
                <a:chOff x="194027" y="794337"/>
                <a:chExt cx="10106271" cy="4808445"/>
              </a:xfrm>
            </p:grpSpPr>
            <p:sp>
              <p:nvSpPr>
                <p:cNvPr id="32" name="TextBox 31">
                  <a:extLst>
                    <a:ext uri="{FF2B5EF4-FFF2-40B4-BE49-F238E27FC236}">
                      <a16:creationId xmlns:a16="http://schemas.microsoft.com/office/drawing/2014/main" id="{7269C792-910E-4F4C-972F-73D7EA2762BA}"/>
                    </a:ext>
                  </a:extLst>
                </p:cNvPr>
                <p:cNvSpPr txBox="1"/>
                <p:nvPr/>
              </p:nvSpPr>
              <p:spPr>
                <a:xfrm>
                  <a:off x="194027" y="2396428"/>
                  <a:ext cx="1953005" cy="3206354"/>
                </a:xfrm>
                <a:prstGeom prst="rect">
                  <a:avLst/>
                </a:prstGeom>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highlight>
                      <a:srgbClr val="FFFF00"/>
                    </a:highligh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highlight>
                      <a:srgbClr val="FFFF00"/>
                    </a:highligh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5F6062"/>
                    </a:solidFill>
                    <a:effectLst/>
                    <a:uLnTx/>
                    <a:uFillTx/>
                    <a:latin typeface="Arial"/>
                  </a:endParaRPr>
                </a:p>
              </p:txBody>
            </p:sp>
            <p:grpSp>
              <p:nvGrpSpPr>
                <p:cNvPr id="33" name="Group 32">
                  <a:extLst>
                    <a:ext uri="{FF2B5EF4-FFF2-40B4-BE49-F238E27FC236}">
                      <a16:creationId xmlns:a16="http://schemas.microsoft.com/office/drawing/2014/main" id="{8326AB5E-9936-41A3-BDBB-3DC54F8231EC}"/>
                    </a:ext>
                  </a:extLst>
                </p:cNvPr>
                <p:cNvGrpSpPr/>
                <p:nvPr/>
              </p:nvGrpSpPr>
              <p:grpSpPr>
                <a:xfrm>
                  <a:off x="2147032" y="794337"/>
                  <a:ext cx="8153266" cy="4802507"/>
                  <a:chOff x="2147032" y="794337"/>
                  <a:chExt cx="8153266" cy="4802507"/>
                </a:xfrm>
              </p:grpSpPr>
              <p:sp>
                <p:nvSpPr>
                  <p:cNvPr id="34" name="TextBox 33">
                    <a:extLst>
                      <a:ext uri="{FF2B5EF4-FFF2-40B4-BE49-F238E27FC236}">
                        <a16:creationId xmlns:a16="http://schemas.microsoft.com/office/drawing/2014/main" id="{82EB4881-92C4-453F-B7E0-D41BFB6D0640}"/>
                      </a:ext>
                    </a:extLst>
                  </p:cNvPr>
                  <p:cNvSpPr txBox="1"/>
                  <p:nvPr/>
                </p:nvSpPr>
                <p:spPr>
                  <a:xfrm>
                    <a:off x="3541235" y="1851830"/>
                    <a:ext cx="5171339" cy="1648143"/>
                  </a:xfrm>
                  <a:prstGeom prst="rect">
                    <a:avLst/>
                  </a:prstGeom>
                  <a:noFill/>
                </p:spPr>
                <p:txBody>
                  <a:bodyPr wrap="square" tIns="68580" bIns="68580" rtlCol="0" anchor="ctr" anchorCtr="1">
                    <a:spAutoFit/>
                  </a:bodyPr>
                  <a:lstStyle/>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4D4F50"/>
                      </a:solidFill>
                      <a:effectLst/>
                      <a:uLnTx/>
                      <a:uFillTx/>
                      <a:latin typeface="Arial"/>
                    </a:endParaRPr>
                  </a:p>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a:ln>
                          <a:noFill/>
                        </a:ln>
                        <a:solidFill>
                          <a:schemeClr val="tx2">
                            <a:lumMod val="50000"/>
                          </a:schemeClr>
                        </a:solidFill>
                        <a:effectLst/>
                        <a:uLnTx/>
                        <a:uFillTx/>
                        <a:latin typeface="Arial"/>
                      </a:rPr>
                      <a:t>8,000</a:t>
                    </a:r>
                    <a:r>
                      <a:rPr kumimoji="0" lang="en-US" sz="2800" b="0" i="0" u="none" strike="noStrike" kern="0" cap="none" spc="0" normalizeH="0" baseline="0" noProof="0" dirty="0">
                        <a:ln>
                          <a:noFill/>
                        </a:ln>
                        <a:solidFill>
                          <a:schemeClr val="tx2">
                            <a:lumMod val="50000"/>
                          </a:schemeClr>
                        </a:solidFill>
                        <a:effectLst/>
                        <a:uLnTx/>
                        <a:uFillTx/>
                        <a:latin typeface="Arial"/>
                      </a:rPr>
                      <a:t> Customers</a:t>
                    </a:r>
                  </a:p>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r>
                      <a:rPr kumimoji="0" lang="en-US" sz="2800" b="1" i="0" u="none" strike="noStrike" kern="0" cap="none" spc="0" normalizeH="0" baseline="0" noProof="0" dirty="0">
                        <a:ln>
                          <a:noFill/>
                        </a:ln>
                        <a:solidFill>
                          <a:srgbClr val="4D4F50"/>
                        </a:solidFill>
                        <a:effectLst/>
                        <a:uLnTx/>
                        <a:uFillTx/>
                        <a:latin typeface="Arial"/>
                      </a:rPr>
                      <a:t>2.2M</a:t>
                    </a:r>
                    <a:r>
                      <a:rPr kumimoji="0" lang="en-US" sz="2800" b="0" i="0" u="none" strike="noStrike" kern="0" cap="none" spc="0" normalizeH="0" baseline="0" noProof="0" dirty="0">
                        <a:ln>
                          <a:noFill/>
                        </a:ln>
                        <a:solidFill>
                          <a:srgbClr val="4D4F50"/>
                        </a:solidFill>
                        <a:effectLst/>
                        <a:uLnTx/>
                        <a:uFillTx/>
                        <a:latin typeface="Arial"/>
                      </a:rPr>
                      <a:t> Returns filed</a:t>
                    </a:r>
                  </a:p>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4D4F50"/>
                      </a:solidFill>
                      <a:effectLst/>
                      <a:uLnTx/>
                      <a:uFillTx/>
                      <a:latin typeface="Arial"/>
                    </a:endParaRPr>
                  </a:p>
                </p:txBody>
              </p:sp>
              <p:grpSp>
                <p:nvGrpSpPr>
                  <p:cNvPr id="35" name="Group 34">
                    <a:extLst>
                      <a:ext uri="{FF2B5EF4-FFF2-40B4-BE49-F238E27FC236}">
                        <a16:creationId xmlns:a16="http://schemas.microsoft.com/office/drawing/2014/main" id="{7A497844-BB54-463D-82AA-D87B991121C2}"/>
                      </a:ext>
                    </a:extLst>
                  </p:cNvPr>
                  <p:cNvGrpSpPr/>
                  <p:nvPr/>
                </p:nvGrpSpPr>
                <p:grpSpPr>
                  <a:xfrm>
                    <a:off x="2147032" y="794337"/>
                    <a:ext cx="8153266" cy="1010361"/>
                    <a:chOff x="2147032" y="794337"/>
                    <a:chExt cx="8153266" cy="1010361"/>
                  </a:xfrm>
                </p:grpSpPr>
                <p:sp>
                  <p:nvSpPr>
                    <p:cNvPr id="39" name="Rectangle 38">
                      <a:extLst>
                        <a:ext uri="{FF2B5EF4-FFF2-40B4-BE49-F238E27FC236}">
                          <a16:creationId xmlns:a16="http://schemas.microsoft.com/office/drawing/2014/main" id="{28FD2D33-C2DE-453F-9DE0-EAB764748CEE}"/>
                        </a:ext>
                      </a:extLst>
                    </p:cNvPr>
                    <p:cNvSpPr/>
                    <p:nvPr/>
                  </p:nvSpPr>
                  <p:spPr bwMode="auto">
                    <a:xfrm>
                      <a:off x="2147032" y="1442540"/>
                      <a:ext cx="8153266" cy="362158"/>
                    </a:xfrm>
                    <a:prstGeom prst="rect">
                      <a:avLst/>
                    </a:prstGeom>
                    <a:solidFill>
                      <a:srgbClr val="199BD2"/>
                    </a:solidFill>
                    <a:ln w="6350" cap="flat" cmpd="sng" algn="ctr">
                      <a:no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marL="0" marR="0" lvl="0" indent="0" defTabSz="914400" eaLnBrk="0" fontAlgn="base" latinLnBrk="0" hangingPunct="0">
                        <a:lnSpc>
                          <a:spcPct val="90000"/>
                        </a:lnSpc>
                        <a:spcBef>
                          <a:spcPts val="45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a:rPr>
                        <a:t>                                                              U.S</a:t>
                      </a:r>
                    </a:p>
                  </p:txBody>
                </p:sp>
                <p:grpSp>
                  <p:nvGrpSpPr>
                    <p:cNvPr id="40" name="Group 39">
                      <a:extLst>
                        <a:ext uri="{FF2B5EF4-FFF2-40B4-BE49-F238E27FC236}">
                          <a16:creationId xmlns:a16="http://schemas.microsoft.com/office/drawing/2014/main" id="{D81F4F87-10AB-448F-8F48-688D632E7704}"/>
                        </a:ext>
                      </a:extLst>
                    </p:cNvPr>
                    <p:cNvGrpSpPr/>
                    <p:nvPr/>
                  </p:nvGrpSpPr>
                  <p:grpSpPr>
                    <a:xfrm>
                      <a:off x="5511425" y="794337"/>
                      <a:ext cx="1319118" cy="555883"/>
                      <a:chOff x="5675366" y="671767"/>
                      <a:chExt cx="1415034" cy="573569"/>
                    </a:xfrm>
                  </p:grpSpPr>
                  <p:pic>
                    <p:nvPicPr>
                      <p:cNvPr id="42" name="Picture 41">
                        <a:extLst>
                          <a:ext uri="{FF2B5EF4-FFF2-40B4-BE49-F238E27FC236}">
                            <a16:creationId xmlns:a16="http://schemas.microsoft.com/office/drawing/2014/main" id="{2FBE2666-3925-4F58-B4D8-9ED1F804C8BE}"/>
                          </a:ext>
                        </a:extLst>
                      </p:cNvPr>
                      <p:cNvPicPr>
                        <a:picLocks noChangeAspect="1"/>
                      </p:cNvPicPr>
                      <p:nvPr/>
                    </p:nvPicPr>
                    <p:blipFill rotWithShape="1">
                      <a:blip r:embed="rId3" cstate="screen">
                        <a:duotone>
                          <a:srgbClr val="70D7FC">
                            <a:shade val="45000"/>
                            <a:satMod val="135000"/>
                          </a:srgbClr>
                          <a:prstClr val="white"/>
                        </a:duotone>
                        <a:extLst>
                          <a:ext uri="{28A0092B-C50C-407E-A947-70E740481C1C}">
                            <a14:useLocalDpi xmlns:a14="http://schemas.microsoft.com/office/drawing/2010/main" val="0"/>
                          </a:ext>
                        </a:extLst>
                      </a:blip>
                      <a:srcRect/>
                      <a:stretch/>
                    </p:blipFill>
                    <p:spPr>
                      <a:xfrm>
                        <a:off x="6209450" y="671767"/>
                        <a:ext cx="407832" cy="523222"/>
                      </a:xfrm>
                      <a:prstGeom prst="rect">
                        <a:avLst/>
                      </a:prstGeom>
                    </p:spPr>
                  </p:pic>
                  <p:pic>
                    <p:nvPicPr>
                      <p:cNvPr id="43" name="Picture 42">
                        <a:extLst>
                          <a:ext uri="{FF2B5EF4-FFF2-40B4-BE49-F238E27FC236}">
                            <a16:creationId xmlns:a16="http://schemas.microsoft.com/office/drawing/2014/main" id="{B9F4B103-3B82-441B-9FE7-2170028CFAF7}"/>
                          </a:ext>
                        </a:extLst>
                      </p:cNvPr>
                      <p:cNvPicPr>
                        <a:picLocks noChangeAspect="1"/>
                      </p:cNvPicPr>
                      <p:nvPr/>
                    </p:nvPicPr>
                    <p:blipFill rotWithShape="1">
                      <a:blip r:embed="rId4" cstate="screen">
                        <a:duotone>
                          <a:srgbClr val="70D7FC">
                            <a:shade val="45000"/>
                            <a:satMod val="135000"/>
                          </a:srgbClr>
                          <a:prstClr val="white"/>
                        </a:duotone>
                        <a:extLst>
                          <a:ext uri="{28A0092B-C50C-407E-A947-70E740481C1C}">
                            <a14:useLocalDpi xmlns:a14="http://schemas.microsoft.com/office/drawing/2010/main" val="0"/>
                          </a:ext>
                        </a:extLst>
                      </a:blip>
                      <a:srcRect l="9273" t="14689" r="6522" b="21646"/>
                      <a:stretch/>
                    </p:blipFill>
                    <p:spPr>
                      <a:xfrm>
                        <a:off x="6674444" y="847195"/>
                        <a:ext cx="415956" cy="384982"/>
                      </a:xfrm>
                      <a:prstGeom prst="rect">
                        <a:avLst/>
                      </a:prstGeom>
                    </p:spPr>
                  </p:pic>
                  <p:pic>
                    <p:nvPicPr>
                      <p:cNvPr id="44" name="Picture 43">
                        <a:extLst>
                          <a:ext uri="{FF2B5EF4-FFF2-40B4-BE49-F238E27FC236}">
                            <a16:creationId xmlns:a16="http://schemas.microsoft.com/office/drawing/2014/main" id="{D5E3448C-366A-47B5-AE49-D1F0CC8CACD1}"/>
                          </a:ext>
                        </a:extLst>
                      </p:cNvPr>
                      <p:cNvPicPr>
                        <a:picLocks noChangeAspect="1"/>
                      </p:cNvPicPr>
                      <p:nvPr/>
                    </p:nvPicPr>
                    <p:blipFill>
                      <a:blip r:embed="rId5" cstate="screen">
                        <a:duotone>
                          <a:srgbClr val="199BD2">
                            <a:shade val="45000"/>
                            <a:satMod val="135000"/>
                          </a:srgbClr>
                          <a:prstClr val="white"/>
                        </a:duotone>
                        <a:extLst>
                          <a:ext uri="{28A0092B-C50C-407E-A947-70E740481C1C}">
                            <a14:useLocalDpi xmlns:a14="http://schemas.microsoft.com/office/drawing/2010/main" val="0"/>
                          </a:ext>
                        </a:extLst>
                      </a:blip>
                      <a:stretch>
                        <a:fillRect/>
                      </a:stretch>
                    </p:blipFill>
                    <p:spPr>
                      <a:xfrm>
                        <a:off x="5675366" y="839973"/>
                        <a:ext cx="534084" cy="405363"/>
                      </a:xfrm>
                      <a:prstGeom prst="rect">
                        <a:avLst/>
                      </a:prstGeom>
                    </p:spPr>
                  </p:pic>
                </p:grpSp>
              </p:grpSp>
              <p:grpSp>
                <p:nvGrpSpPr>
                  <p:cNvPr id="36" name="Group 35">
                    <a:extLst>
                      <a:ext uri="{FF2B5EF4-FFF2-40B4-BE49-F238E27FC236}">
                        <a16:creationId xmlns:a16="http://schemas.microsoft.com/office/drawing/2014/main" id="{0730F86E-68D7-4328-A1D1-3FF41E69BC6A}"/>
                      </a:ext>
                    </a:extLst>
                  </p:cNvPr>
                  <p:cNvGrpSpPr/>
                  <p:nvPr/>
                </p:nvGrpSpPr>
                <p:grpSpPr>
                  <a:xfrm>
                    <a:off x="4797322" y="2412906"/>
                    <a:ext cx="2745268" cy="3183938"/>
                    <a:chOff x="1983137" y="1304626"/>
                    <a:chExt cx="3660356" cy="4245252"/>
                  </a:xfrm>
                </p:grpSpPr>
                <p:sp>
                  <p:nvSpPr>
                    <p:cNvPr id="37" name="TextBox 36">
                      <a:extLst>
                        <a:ext uri="{FF2B5EF4-FFF2-40B4-BE49-F238E27FC236}">
                          <a16:creationId xmlns:a16="http://schemas.microsoft.com/office/drawing/2014/main" id="{F4D3A0CA-2CC0-49A1-9A65-C94F8E98FB34}"/>
                        </a:ext>
                      </a:extLst>
                    </p:cNvPr>
                    <p:cNvSpPr txBox="1"/>
                    <p:nvPr/>
                  </p:nvSpPr>
                  <p:spPr>
                    <a:xfrm>
                      <a:off x="2774865" y="5143613"/>
                      <a:ext cx="2868628" cy="406265"/>
                    </a:xfrm>
                    <a:prstGeom prst="rect">
                      <a:avLst/>
                    </a:prstGeom>
                    <a:noFill/>
                  </p:spPr>
                  <p:txBody>
                    <a:bodyPr wrap="square" tIns="68580" bIns="68580" rtlCol="0" anchor="ctr" anchorCtr="1">
                      <a:spAutoFit/>
                    </a:bodyPr>
                    <a:lstStyle/>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5F6062"/>
                        </a:solidFill>
                        <a:effectLst/>
                        <a:uLnTx/>
                        <a:uFillTx/>
                        <a:latin typeface="Arial"/>
                      </a:endParaRPr>
                    </a:p>
                  </p:txBody>
                </p:sp>
                <p:sp>
                  <p:nvSpPr>
                    <p:cNvPr id="38" name="TextBox 37">
                      <a:extLst>
                        <a:ext uri="{FF2B5EF4-FFF2-40B4-BE49-F238E27FC236}">
                          <a16:creationId xmlns:a16="http://schemas.microsoft.com/office/drawing/2014/main" id="{0022E387-BDBF-4140-99CE-30244744115A}"/>
                        </a:ext>
                      </a:extLst>
                    </p:cNvPr>
                    <p:cNvSpPr txBox="1"/>
                    <p:nvPr/>
                  </p:nvSpPr>
                  <p:spPr>
                    <a:xfrm>
                      <a:off x="1983137" y="1304626"/>
                      <a:ext cx="3545553" cy="855619"/>
                    </a:xfrm>
                    <a:prstGeom prst="rect">
                      <a:avLst/>
                    </a:prstGeom>
                    <a:noFill/>
                  </p:spPr>
                  <p:txBody>
                    <a:bodyPr wrap="square" tIns="68580" bIns="68580" rtlCol="0" anchor="ctr" anchorCtr="1">
                      <a:spAutoFit/>
                    </a:bodyPr>
                    <a:lstStyle/>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4D4F50"/>
                        </a:solidFill>
                        <a:effectLst/>
                        <a:uLnTx/>
                        <a:uFillTx/>
                        <a:latin typeface="Arial"/>
                      </a:endParaRPr>
                    </a:p>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4D4F50"/>
                        </a:solidFill>
                        <a:effectLst/>
                        <a:uLnTx/>
                        <a:uFillTx/>
                        <a:latin typeface="Arial"/>
                      </a:endParaRPr>
                    </a:p>
                  </p:txBody>
                </p:sp>
              </p:grpSp>
            </p:grpSp>
          </p:grpSp>
        </p:grpSp>
        <p:sp>
          <p:nvSpPr>
            <p:cNvPr id="28" name="TextBox 27">
              <a:extLst>
                <a:ext uri="{FF2B5EF4-FFF2-40B4-BE49-F238E27FC236}">
                  <a16:creationId xmlns:a16="http://schemas.microsoft.com/office/drawing/2014/main" id="{3D4559D6-6673-4460-A49C-2AA357A3B6B3}"/>
                </a:ext>
              </a:extLst>
            </p:cNvPr>
            <p:cNvSpPr txBox="1"/>
            <p:nvPr/>
          </p:nvSpPr>
          <p:spPr>
            <a:xfrm>
              <a:off x="7781619" y="3526211"/>
              <a:ext cx="2671080" cy="669414"/>
            </a:xfrm>
            <a:prstGeom prst="rect">
              <a:avLst/>
            </a:prstGeom>
            <a:noFill/>
          </p:spPr>
          <p:txBody>
            <a:bodyPr wrap="square" tIns="68580" bIns="68580" rtlCol="0" anchor="ctr" anchorCtr="1">
              <a:spAutoFit/>
            </a:bodyPr>
            <a:lstStyle/>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5F6062"/>
                </a:solidFill>
                <a:effectLst/>
                <a:uLnTx/>
                <a:uFillTx/>
                <a:latin typeface="Arial"/>
              </a:endParaRPr>
            </a:p>
            <a:p>
              <a:pPr marL="214313" marR="0" lvl="0" indent="-214313" defTabSz="914400" eaLnBrk="1" fontAlgn="auto" latinLnBrk="0" hangingPunct="1">
                <a:lnSpc>
                  <a:spcPct val="90000"/>
                </a:lnSpc>
                <a:spcBef>
                  <a:spcPts val="90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4D4F50"/>
                </a:solidFill>
                <a:effectLst/>
                <a:uLnTx/>
                <a:uFillTx/>
                <a:latin typeface="Arial"/>
              </a:endParaRPr>
            </a:p>
          </p:txBody>
        </p:sp>
      </p:grpSp>
      <p:sp>
        <p:nvSpPr>
          <p:cNvPr id="5" name="Rectangle 4">
            <a:extLst>
              <a:ext uri="{FF2B5EF4-FFF2-40B4-BE49-F238E27FC236}">
                <a16:creationId xmlns:a16="http://schemas.microsoft.com/office/drawing/2014/main" id="{0E82CAC8-E5B0-4C17-A6B4-EEE501BA72B2}"/>
              </a:ext>
            </a:extLst>
          </p:cNvPr>
          <p:cNvSpPr/>
          <p:nvPr/>
        </p:nvSpPr>
        <p:spPr>
          <a:xfrm>
            <a:off x="3006759" y="3730052"/>
            <a:ext cx="6096000" cy="2677656"/>
          </a:xfrm>
          <a:prstGeom prst="rect">
            <a:avLst/>
          </a:prstGeom>
        </p:spPr>
        <p:txBody>
          <a:bodyPr>
            <a:spAutoFit/>
          </a:bodyPr>
          <a:lstStyle/>
          <a:p>
            <a:pPr algn="ctr"/>
            <a:r>
              <a:rPr lang="en-US" sz="2400" dirty="0"/>
              <a:t>Sales and Use</a:t>
            </a:r>
            <a:br>
              <a:rPr lang="en-US" sz="2400" dirty="0"/>
            </a:br>
            <a:r>
              <a:rPr lang="en-US" sz="2400" dirty="0"/>
              <a:t>Telecommunications</a:t>
            </a:r>
            <a:br>
              <a:rPr lang="en-US" sz="2400" dirty="0"/>
            </a:br>
            <a:r>
              <a:rPr lang="en-US" sz="2400" dirty="0"/>
              <a:t>Excise Tax</a:t>
            </a:r>
            <a:br>
              <a:rPr lang="en-US" sz="2400" dirty="0"/>
            </a:br>
            <a:r>
              <a:rPr lang="en-US" sz="2400" dirty="0"/>
              <a:t>Fuel Tax</a:t>
            </a:r>
            <a:br>
              <a:rPr lang="en-US" sz="2400" dirty="0"/>
            </a:br>
            <a:r>
              <a:rPr lang="en-US" sz="2400" dirty="0"/>
              <a:t>Alcohol &amp; Beverage</a:t>
            </a:r>
            <a:br>
              <a:rPr lang="en-US" sz="2400" dirty="0"/>
            </a:br>
            <a:r>
              <a:rPr lang="en-US" sz="2400" dirty="0"/>
              <a:t>VAT </a:t>
            </a:r>
            <a:br>
              <a:rPr lang="en-US" sz="2400" dirty="0"/>
            </a:br>
            <a:r>
              <a:rPr lang="en-US" sz="2400" dirty="0"/>
              <a:t>Lodging and Hotel</a:t>
            </a:r>
          </a:p>
        </p:txBody>
      </p:sp>
    </p:spTree>
    <p:extLst>
      <p:ext uri="{BB962C8B-B14F-4D97-AF65-F5344CB8AC3E}">
        <p14:creationId xmlns:p14="http://schemas.microsoft.com/office/powerpoint/2010/main" val="59415195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268BF8-C80F-4FDF-9193-0EF7D2EFCC65}"/>
              </a:ext>
            </a:extLst>
          </p:cNvPr>
          <p:cNvSpPr>
            <a:spLocks noGrp="1"/>
          </p:cNvSpPr>
          <p:nvPr>
            <p:ph type="sldNum" sz="quarter" idx="12"/>
          </p:nvPr>
        </p:nvSpPr>
        <p:spPr/>
        <p:txBody>
          <a:bodyPr/>
          <a:lstStyle/>
          <a:p>
            <a:fld id="{C7927A04-FFAB-4E77-8A60-75CB67674673}" type="slidenum">
              <a:rPr lang="en-US" smtClean="0"/>
              <a:pPr/>
              <a:t>6</a:t>
            </a:fld>
            <a:endParaRPr lang="en-US" dirty="0"/>
          </a:p>
        </p:txBody>
      </p:sp>
      <p:sp>
        <p:nvSpPr>
          <p:cNvPr id="3" name="Footer Placeholder 2">
            <a:extLst>
              <a:ext uri="{FF2B5EF4-FFF2-40B4-BE49-F238E27FC236}">
                <a16:creationId xmlns:a16="http://schemas.microsoft.com/office/drawing/2014/main" id="{BFFE990A-DABB-46EC-AEFA-241258BCEB3C}"/>
              </a:ext>
            </a:extLst>
          </p:cNvPr>
          <p:cNvSpPr>
            <a:spLocks noGrp="1"/>
          </p:cNvSpPr>
          <p:nvPr>
            <p:ph type="ftr" sz="quarter" idx="11"/>
          </p:nvPr>
        </p:nvSpPr>
        <p:spPr/>
        <p:txBody>
          <a:bodyPr/>
          <a:lstStyle/>
          <a:p>
            <a:r>
              <a:rPr lang="en-US"/>
              <a:t>©Avalara. Confidential and proprietary.</a:t>
            </a:r>
            <a:endParaRPr lang="en-US" dirty="0"/>
          </a:p>
        </p:txBody>
      </p:sp>
      <p:sp>
        <p:nvSpPr>
          <p:cNvPr id="8" name="Subtitle 7">
            <a:extLst>
              <a:ext uri="{FF2B5EF4-FFF2-40B4-BE49-F238E27FC236}">
                <a16:creationId xmlns:a16="http://schemas.microsoft.com/office/drawing/2014/main" id="{0A1198EF-F68D-47F0-9177-4463DD914807}"/>
              </a:ext>
            </a:extLst>
          </p:cNvPr>
          <p:cNvSpPr>
            <a:spLocks noGrp="1"/>
          </p:cNvSpPr>
          <p:nvPr>
            <p:ph type="subTitle" idx="14"/>
          </p:nvPr>
        </p:nvSpPr>
        <p:spPr/>
        <p:txBody>
          <a:bodyPr/>
          <a:lstStyle/>
          <a:p>
            <a:endParaRPr lang="en-US" dirty="0"/>
          </a:p>
        </p:txBody>
      </p:sp>
      <p:sp>
        <p:nvSpPr>
          <p:cNvPr id="6" name="Title 5">
            <a:extLst>
              <a:ext uri="{FF2B5EF4-FFF2-40B4-BE49-F238E27FC236}">
                <a16:creationId xmlns:a16="http://schemas.microsoft.com/office/drawing/2014/main" id="{264120B8-48DD-4282-B9AA-A6935406B84E}"/>
              </a:ext>
            </a:extLst>
          </p:cNvPr>
          <p:cNvSpPr>
            <a:spLocks noGrp="1"/>
          </p:cNvSpPr>
          <p:nvPr>
            <p:ph type="title"/>
          </p:nvPr>
        </p:nvSpPr>
        <p:spPr/>
        <p:txBody>
          <a:bodyPr/>
          <a:lstStyle/>
          <a:p>
            <a:pPr>
              <a:buNone/>
            </a:pPr>
            <a:r>
              <a:rPr lang="en-US" dirty="0"/>
              <a:t>Remittances</a:t>
            </a:r>
          </a:p>
        </p:txBody>
      </p:sp>
      <p:pic>
        <p:nvPicPr>
          <p:cNvPr id="1026" name="Chart 1" descr="image004">
            <a:extLst>
              <a:ext uri="{FF2B5EF4-FFF2-40B4-BE49-F238E27FC236}">
                <a16:creationId xmlns:a16="http://schemas.microsoft.com/office/drawing/2014/main" id="{664C617F-4A25-4FF7-A520-66A886B5B2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1553327"/>
            <a:ext cx="7259595" cy="4791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45534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268BF8-C80F-4FDF-9193-0EF7D2EFCC65}"/>
              </a:ext>
            </a:extLst>
          </p:cNvPr>
          <p:cNvSpPr>
            <a:spLocks noGrp="1"/>
          </p:cNvSpPr>
          <p:nvPr>
            <p:ph type="sldNum" sz="quarter" idx="12"/>
          </p:nvPr>
        </p:nvSpPr>
        <p:spPr/>
        <p:txBody>
          <a:bodyPr/>
          <a:lstStyle/>
          <a:p>
            <a:fld id="{C7927A04-FFAB-4E77-8A60-75CB67674673}" type="slidenum">
              <a:rPr lang="en-US" smtClean="0"/>
              <a:pPr/>
              <a:t>7</a:t>
            </a:fld>
            <a:endParaRPr lang="en-US" dirty="0"/>
          </a:p>
        </p:txBody>
      </p:sp>
      <p:sp>
        <p:nvSpPr>
          <p:cNvPr id="3" name="Footer Placeholder 2">
            <a:extLst>
              <a:ext uri="{FF2B5EF4-FFF2-40B4-BE49-F238E27FC236}">
                <a16:creationId xmlns:a16="http://schemas.microsoft.com/office/drawing/2014/main" id="{BFFE990A-DABB-46EC-AEFA-241258BCEB3C}"/>
              </a:ext>
            </a:extLst>
          </p:cNvPr>
          <p:cNvSpPr>
            <a:spLocks noGrp="1"/>
          </p:cNvSpPr>
          <p:nvPr>
            <p:ph type="ftr" sz="quarter" idx="11"/>
          </p:nvPr>
        </p:nvSpPr>
        <p:spPr/>
        <p:txBody>
          <a:bodyPr/>
          <a:lstStyle/>
          <a:p>
            <a:r>
              <a:rPr lang="en-US"/>
              <a:t>©Avalara. Confidential and proprietary.</a:t>
            </a:r>
            <a:endParaRPr lang="en-US" dirty="0"/>
          </a:p>
        </p:txBody>
      </p:sp>
      <p:sp>
        <p:nvSpPr>
          <p:cNvPr id="8" name="Subtitle 7">
            <a:extLst>
              <a:ext uri="{FF2B5EF4-FFF2-40B4-BE49-F238E27FC236}">
                <a16:creationId xmlns:a16="http://schemas.microsoft.com/office/drawing/2014/main" id="{0A1198EF-F68D-47F0-9177-4463DD914807}"/>
              </a:ext>
            </a:extLst>
          </p:cNvPr>
          <p:cNvSpPr>
            <a:spLocks noGrp="1"/>
          </p:cNvSpPr>
          <p:nvPr>
            <p:ph type="subTitle" idx="14"/>
          </p:nvPr>
        </p:nvSpPr>
        <p:spPr/>
        <p:txBody>
          <a:bodyPr/>
          <a:lstStyle/>
          <a:p>
            <a:r>
              <a:rPr lang="en-US" dirty="0"/>
              <a:t>Non-zero returns</a:t>
            </a:r>
          </a:p>
        </p:txBody>
      </p:sp>
      <p:sp>
        <p:nvSpPr>
          <p:cNvPr id="6" name="Title 5">
            <a:extLst>
              <a:ext uri="{FF2B5EF4-FFF2-40B4-BE49-F238E27FC236}">
                <a16:creationId xmlns:a16="http://schemas.microsoft.com/office/drawing/2014/main" id="{264120B8-48DD-4282-B9AA-A6935406B84E}"/>
              </a:ext>
            </a:extLst>
          </p:cNvPr>
          <p:cNvSpPr>
            <a:spLocks noGrp="1"/>
          </p:cNvSpPr>
          <p:nvPr>
            <p:ph type="title"/>
          </p:nvPr>
        </p:nvSpPr>
        <p:spPr/>
        <p:txBody>
          <a:bodyPr/>
          <a:lstStyle/>
          <a:p>
            <a:pPr>
              <a:buNone/>
            </a:pPr>
            <a:r>
              <a:rPr lang="en-US" dirty="0"/>
              <a:t>Remittances</a:t>
            </a:r>
          </a:p>
        </p:txBody>
      </p:sp>
      <p:pic>
        <p:nvPicPr>
          <p:cNvPr id="2050" name="Chart 6" descr="image006">
            <a:extLst>
              <a:ext uri="{FF2B5EF4-FFF2-40B4-BE49-F238E27FC236}">
                <a16:creationId xmlns:a16="http://schemas.microsoft.com/office/drawing/2014/main" id="{23C801C6-AC33-4618-9764-0B1631BEE8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8512" y="1968500"/>
            <a:ext cx="6161087"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67705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6268BF8-C80F-4FDF-9193-0EF7D2EFCC65}"/>
              </a:ext>
            </a:extLst>
          </p:cNvPr>
          <p:cNvSpPr>
            <a:spLocks noGrp="1"/>
          </p:cNvSpPr>
          <p:nvPr>
            <p:ph type="sldNum" sz="quarter" idx="12"/>
          </p:nvPr>
        </p:nvSpPr>
        <p:spPr/>
        <p:txBody>
          <a:bodyPr/>
          <a:lstStyle/>
          <a:p>
            <a:fld id="{C7927A04-FFAB-4E77-8A60-75CB67674673}" type="slidenum">
              <a:rPr lang="en-US" smtClean="0"/>
              <a:pPr/>
              <a:t>8</a:t>
            </a:fld>
            <a:endParaRPr lang="en-US" dirty="0"/>
          </a:p>
        </p:txBody>
      </p:sp>
      <p:sp>
        <p:nvSpPr>
          <p:cNvPr id="3" name="Footer Placeholder 2">
            <a:extLst>
              <a:ext uri="{FF2B5EF4-FFF2-40B4-BE49-F238E27FC236}">
                <a16:creationId xmlns:a16="http://schemas.microsoft.com/office/drawing/2014/main" id="{BFFE990A-DABB-46EC-AEFA-241258BCEB3C}"/>
              </a:ext>
            </a:extLst>
          </p:cNvPr>
          <p:cNvSpPr>
            <a:spLocks noGrp="1"/>
          </p:cNvSpPr>
          <p:nvPr>
            <p:ph type="ftr" sz="quarter" idx="11"/>
          </p:nvPr>
        </p:nvSpPr>
        <p:spPr/>
        <p:txBody>
          <a:bodyPr/>
          <a:lstStyle/>
          <a:p>
            <a:r>
              <a:rPr lang="en-US"/>
              <a:t>©Avalara. Confidential and proprietary.</a:t>
            </a:r>
            <a:endParaRPr lang="en-US" dirty="0"/>
          </a:p>
        </p:txBody>
      </p:sp>
      <p:sp>
        <p:nvSpPr>
          <p:cNvPr id="8" name="Subtitle 7">
            <a:extLst>
              <a:ext uri="{FF2B5EF4-FFF2-40B4-BE49-F238E27FC236}">
                <a16:creationId xmlns:a16="http://schemas.microsoft.com/office/drawing/2014/main" id="{0A1198EF-F68D-47F0-9177-4463DD914807}"/>
              </a:ext>
            </a:extLst>
          </p:cNvPr>
          <p:cNvSpPr>
            <a:spLocks noGrp="1"/>
          </p:cNvSpPr>
          <p:nvPr>
            <p:ph type="subTitle" idx="14"/>
          </p:nvPr>
        </p:nvSpPr>
        <p:spPr/>
        <p:txBody>
          <a:bodyPr/>
          <a:lstStyle/>
          <a:p>
            <a:r>
              <a:rPr lang="en-US" dirty="0"/>
              <a:t>Tax remittances</a:t>
            </a:r>
          </a:p>
        </p:txBody>
      </p:sp>
      <p:sp>
        <p:nvSpPr>
          <p:cNvPr id="6" name="Title 5">
            <a:extLst>
              <a:ext uri="{FF2B5EF4-FFF2-40B4-BE49-F238E27FC236}">
                <a16:creationId xmlns:a16="http://schemas.microsoft.com/office/drawing/2014/main" id="{264120B8-48DD-4282-B9AA-A6935406B84E}"/>
              </a:ext>
            </a:extLst>
          </p:cNvPr>
          <p:cNvSpPr>
            <a:spLocks noGrp="1"/>
          </p:cNvSpPr>
          <p:nvPr>
            <p:ph type="title"/>
          </p:nvPr>
        </p:nvSpPr>
        <p:spPr/>
        <p:txBody>
          <a:bodyPr/>
          <a:lstStyle/>
          <a:p>
            <a:pPr>
              <a:buNone/>
            </a:pPr>
            <a:r>
              <a:rPr lang="en-US" dirty="0"/>
              <a:t>Remittances</a:t>
            </a:r>
          </a:p>
        </p:txBody>
      </p:sp>
      <p:pic>
        <p:nvPicPr>
          <p:cNvPr id="3074" name="Chart 8" descr="image007">
            <a:extLst>
              <a:ext uri="{FF2B5EF4-FFF2-40B4-BE49-F238E27FC236}">
                <a16:creationId xmlns:a16="http://schemas.microsoft.com/office/drawing/2014/main" id="{C3814989-6EB5-48DD-8016-3F2E1728D2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0225" y="1416050"/>
            <a:ext cx="7210425" cy="4679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20444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37759D5-1970-4902-A12F-834B4FA60F68}"/>
              </a:ext>
            </a:extLst>
          </p:cNvPr>
          <p:cNvSpPr>
            <a:spLocks noGrp="1"/>
          </p:cNvSpPr>
          <p:nvPr>
            <p:ph type="ftr" sz="quarter" idx="11"/>
          </p:nvPr>
        </p:nvSpPr>
        <p:spPr>
          <a:xfrm>
            <a:off x="4038600" y="6356350"/>
            <a:ext cx="4114800" cy="365125"/>
          </a:xfrm>
        </p:spPr>
        <p:txBody>
          <a:bodyPr/>
          <a:lstStyle/>
          <a:p>
            <a:endParaRPr lang="en-US" dirty="0"/>
          </a:p>
        </p:txBody>
      </p:sp>
      <p:sp>
        <p:nvSpPr>
          <p:cNvPr id="2" name="Title 1">
            <a:extLst>
              <a:ext uri="{FF2B5EF4-FFF2-40B4-BE49-F238E27FC236}">
                <a16:creationId xmlns:a16="http://schemas.microsoft.com/office/drawing/2014/main" id="{0F04784B-0359-422C-8AA1-7C57948817C3}"/>
              </a:ext>
            </a:extLst>
          </p:cNvPr>
          <p:cNvSpPr>
            <a:spLocks noGrp="1"/>
          </p:cNvSpPr>
          <p:nvPr>
            <p:ph type="title"/>
          </p:nvPr>
        </p:nvSpPr>
        <p:spPr>
          <a:xfrm>
            <a:off x="685800" y="570707"/>
            <a:ext cx="4774841" cy="491846"/>
          </a:xfrm>
        </p:spPr>
        <p:txBody>
          <a:bodyPr>
            <a:normAutofit fontScale="90000"/>
          </a:bodyPr>
          <a:lstStyle/>
          <a:p>
            <a:r>
              <a:rPr lang="en-US" b="1" dirty="0"/>
              <a:t>ACH Credit States</a:t>
            </a:r>
          </a:p>
        </p:txBody>
      </p:sp>
      <p:grpSp>
        <p:nvGrpSpPr>
          <p:cNvPr id="19" name="Group 18">
            <a:extLst>
              <a:ext uri="{FF2B5EF4-FFF2-40B4-BE49-F238E27FC236}">
                <a16:creationId xmlns:a16="http://schemas.microsoft.com/office/drawing/2014/main" id="{6AA2E258-2DFC-4C9A-A8F0-D542EAF1A53B}"/>
              </a:ext>
            </a:extLst>
          </p:cNvPr>
          <p:cNvGrpSpPr/>
          <p:nvPr/>
        </p:nvGrpSpPr>
        <p:grpSpPr>
          <a:xfrm>
            <a:off x="3553082" y="1062553"/>
            <a:ext cx="8239128" cy="5293589"/>
            <a:chOff x="2529413" y="780762"/>
            <a:chExt cx="8239128" cy="5293589"/>
          </a:xfrm>
          <a:solidFill>
            <a:srgbClr val="FF0000"/>
          </a:solidFill>
        </p:grpSpPr>
        <p:grpSp>
          <p:nvGrpSpPr>
            <p:cNvPr id="20" name="Group 66">
              <a:extLst>
                <a:ext uri="{FF2B5EF4-FFF2-40B4-BE49-F238E27FC236}">
                  <a16:creationId xmlns:a16="http://schemas.microsoft.com/office/drawing/2014/main" id="{72E202B0-A377-4C45-8CE7-1508D4AF823B}"/>
                </a:ext>
              </a:extLst>
            </p:cNvPr>
            <p:cNvGrpSpPr>
              <a:grpSpLocks noChangeAspect="1"/>
            </p:cNvGrpSpPr>
            <p:nvPr/>
          </p:nvGrpSpPr>
          <p:grpSpPr bwMode="auto">
            <a:xfrm>
              <a:off x="2529413" y="780762"/>
              <a:ext cx="8239128" cy="5293589"/>
              <a:chOff x="1090" y="325"/>
              <a:chExt cx="5709" cy="3668"/>
            </a:xfrm>
            <a:grpFill/>
          </p:grpSpPr>
          <p:sp>
            <p:nvSpPr>
              <p:cNvPr id="23" name="Freeform 99">
                <a:extLst>
                  <a:ext uri="{FF2B5EF4-FFF2-40B4-BE49-F238E27FC236}">
                    <a16:creationId xmlns:a16="http://schemas.microsoft.com/office/drawing/2014/main" id="{4D272953-13FD-4664-ACD0-5DB3203E4DF9}"/>
                  </a:ext>
                </a:extLst>
              </p:cNvPr>
              <p:cNvSpPr>
                <a:spLocks/>
              </p:cNvSpPr>
              <p:nvPr/>
            </p:nvSpPr>
            <p:spPr bwMode="auto">
              <a:xfrm>
                <a:off x="4977" y="2548"/>
                <a:ext cx="876" cy="751"/>
              </a:xfrm>
              <a:custGeom>
                <a:avLst/>
                <a:gdLst>
                  <a:gd name="T0" fmla="*/ 737 w 745"/>
                  <a:gd name="T1" fmla="*/ 281 h 638"/>
                  <a:gd name="T2" fmla="*/ 687 w 745"/>
                  <a:gd name="T3" fmla="*/ 240 h 638"/>
                  <a:gd name="T4" fmla="*/ 671 w 745"/>
                  <a:gd name="T5" fmla="*/ 216 h 638"/>
                  <a:gd name="T6" fmla="*/ 612 w 745"/>
                  <a:gd name="T7" fmla="*/ 152 h 638"/>
                  <a:gd name="T8" fmla="*/ 561 w 745"/>
                  <a:gd name="T9" fmla="*/ 111 h 638"/>
                  <a:gd name="T10" fmla="*/ 473 w 745"/>
                  <a:gd name="T11" fmla="*/ 49 h 638"/>
                  <a:gd name="T12" fmla="*/ 453 w 745"/>
                  <a:gd name="T13" fmla="*/ 0 h 638"/>
                  <a:gd name="T14" fmla="*/ 352 w 745"/>
                  <a:gd name="T15" fmla="*/ 17 h 638"/>
                  <a:gd name="T16" fmla="*/ 348 w 745"/>
                  <a:gd name="T17" fmla="*/ 17 h 638"/>
                  <a:gd name="T18" fmla="*/ 157 w 745"/>
                  <a:gd name="T19" fmla="*/ 50 h 638"/>
                  <a:gd name="T20" fmla="*/ 0 w 745"/>
                  <a:gd name="T21" fmla="*/ 75 h 638"/>
                  <a:gd name="T22" fmla="*/ 41 w 745"/>
                  <a:gd name="T23" fmla="*/ 635 h 638"/>
                  <a:gd name="T24" fmla="*/ 59 w 745"/>
                  <a:gd name="T25" fmla="*/ 637 h 638"/>
                  <a:gd name="T26" fmla="*/ 64 w 745"/>
                  <a:gd name="T27" fmla="*/ 618 h 638"/>
                  <a:gd name="T28" fmla="*/ 65 w 745"/>
                  <a:gd name="T29" fmla="*/ 610 h 638"/>
                  <a:gd name="T30" fmla="*/ 103 w 745"/>
                  <a:gd name="T31" fmla="*/ 605 h 638"/>
                  <a:gd name="T32" fmla="*/ 152 w 745"/>
                  <a:gd name="T33" fmla="*/ 634 h 638"/>
                  <a:gd name="T34" fmla="*/ 108 w 745"/>
                  <a:gd name="T35" fmla="*/ 575 h 638"/>
                  <a:gd name="T36" fmla="*/ 220 w 745"/>
                  <a:gd name="T37" fmla="*/ 540 h 638"/>
                  <a:gd name="T38" fmla="*/ 388 w 745"/>
                  <a:gd name="T39" fmla="*/ 531 h 638"/>
                  <a:gd name="T40" fmla="*/ 470 w 745"/>
                  <a:gd name="T41" fmla="*/ 529 h 638"/>
                  <a:gd name="T42" fmla="*/ 643 w 745"/>
                  <a:gd name="T43" fmla="*/ 515 h 638"/>
                  <a:gd name="T44" fmla="*/ 679 w 745"/>
                  <a:gd name="T45" fmla="*/ 533 h 638"/>
                  <a:gd name="T46" fmla="*/ 669 w 745"/>
                  <a:gd name="T47" fmla="*/ 501 h 638"/>
                  <a:gd name="T48" fmla="*/ 672 w 745"/>
                  <a:gd name="T49" fmla="*/ 478 h 638"/>
                  <a:gd name="T50" fmla="*/ 721 w 745"/>
                  <a:gd name="T51" fmla="*/ 462 h 638"/>
                  <a:gd name="T52" fmla="*/ 715 w 745"/>
                  <a:gd name="T53" fmla="*/ 433 h 638"/>
                  <a:gd name="T54" fmla="*/ 712 w 745"/>
                  <a:gd name="T55" fmla="*/ 411 h 638"/>
                  <a:gd name="T56" fmla="*/ 717 w 745"/>
                  <a:gd name="T57" fmla="*/ 387 h 638"/>
                  <a:gd name="T58" fmla="*/ 733 w 745"/>
                  <a:gd name="T59" fmla="*/ 366 h 638"/>
                  <a:gd name="T60" fmla="*/ 726 w 745"/>
                  <a:gd name="T61" fmla="*/ 358 h 638"/>
                  <a:gd name="T62" fmla="*/ 733 w 745"/>
                  <a:gd name="T63" fmla="*/ 328 h 638"/>
                  <a:gd name="T64" fmla="*/ 738 w 745"/>
                  <a:gd name="T65" fmla="*/ 28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5" h="638">
                    <a:moveTo>
                      <a:pt x="738" y="284"/>
                    </a:moveTo>
                    <a:cubicBezTo>
                      <a:pt x="737" y="283"/>
                      <a:pt x="737" y="282"/>
                      <a:pt x="737" y="281"/>
                    </a:cubicBezTo>
                    <a:cubicBezTo>
                      <a:pt x="736" y="275"/>
                      <a:pt x="706" y="254"/>
                      <a:pt x="697" y="247"/>
                    </a:cubicBezTo>
                    <a:cubicBezTo>
                      <a:pt x="692" y="244"/>
                      <a:pt x="689" y="241"/>
                      <a:pt x="687" y="240"/>
                    </a:cubicBezTo>
                    <a:cubicBezTo>
                      <a:pt x="686" y="239"/>
                      <a:pt x="684" y="238"/>
                      <a:pt x="683" y="237"/>
                    </a:cubicBezTo>
                    <a:cubicBezTo>
                      <a:pt x="677" y="233"/>
                      <a:pt x="672" y="229"/>
                      <a:pt x="671" y="216"/>
                    </a:cubicBezTo>
                    <a:cubicBezTo>
                      <a:pt x="669" y="204"/>
                      <a:pt x="653" y="181"/>
                      <a:pt x="641" y="169"/>
                    </a:cubicBezTo>
                    <a:cubicBezTo>
                      <a:pt x="633" y="162"/>
                      <a:pt x="622" y="156"/>
                      <a:pt x="612" y="152"/>
                    </a:cubicBezTo>
                    <a:cubicBezTo>
                      <a:pt x="607" y="149"/>
                      <a:pt x="603" y="147"/>
                      <a:pt x="599" y="145"/>
                    </a:cubicBezTo>
                    <a:cubicBezTo>
                      <a:pt x="587" y="138"/>
                      <a:pt x="573" y="126"/>
                      <a:pt x="561" y="111"/>
                    </a:cubicBezTo>
                    <a:cubicBezTo>
                      <a:pt x="549" y="98"/>
                      <a:pt x="521" y="68"/>
                      <a:pt x="512" y="60"/>
                    </a:cubicBezTo>
                    <a:cubicBezTo>
                      <a:pt x="507" y="54"/>
                      <a:pt x="493" y="51"/>
                      <a:pt x="473" y="49"/>
                    </a:cubicBezTo>
                    <a:cubicBezTo>
                      <a:pt x="456" y="48"/>
                      <a:pt x="453" y="36"/>
                      <a:pt x="450" y="19"/>
                    </a:cubicBezTo>
                    <a:cubicBezTo>
                      <a:pt x="449" y="12"/>
                      <a:pt x="451" y="5"/>
                      <a:pt x="453" y="0"/>
                    </a:cubicBezTo>
                    <a:cubicBezTo>
                      <a:pt x="439" y="5"/>
                      <a:pt x="413" y="10"/>
                      <a:pt x="397" y="12"/>
                    </a:cubicBezTo>
                    <a:cubicBezTo>
                      <a:pt x="371" y="16"/>
                      <a:pt x="358" y="17"/>
                      <a:pt x="352" y="17"/>
                    </a:cubicBezTo>
                    <a:cubicBezTo>
                      <a:pt x="350" y="17"/>
                      <a:pt x="349" y="17"/>
                      <a:pt x="348" y="17"/>
                    </a:cubicBezTo>
                    <a:cubicBezTo>
                      <a:pt x="348" y="17"/>
                      <a:pt x="348" y="17"/>
                      <a:pt x="348" y="17"/>
                    </a:cubicBezTo>
                    <a:cubicBezTo>
                      <a:pt x="326" y="17"/>
                      <a:pt x="250" y="32"/>
                      <a:pt x="199" y="42"/>
                    </a:cubicBezTo>
                    <a:cubicBezTo>
                      <a:pt x="180" y="46"/>
                      <a:pt x="164" y="49"/>
                      <a:pt x="157" y="50"/>
                    </a:cubicBezTo>
                    <a:cubicBezTo>
                      <a:pt x="152" y="51"/>
                      <a:pt x="152" y="51"/>
                      <a:pt x="152" y="51"/>
                    </a:cubicBezTo>
                    <a:cubicBezTo>
                      <a:pt x="83" y="62"/>
                      <a:pt x="32" y="70"/>
                      <a:pt x="0" y="75"/>
                    </a:cubicBezTo>
                    <a:cubicBezTo>
                      <a:pt x="0" y="110"/>
                      <a:pt x="0" y="417"/>
                      <a:pt x="0" y="437"/>
                    </a:cubicBezTo>
                    <a:cubicBezTo>
                      <a:pt x="0" y="454"/>
                      <a:pt x="26" y="572"/>
                      <a:pt x="41" y="635"/>
                    </a:cubicBezTo>
                    <a:cubicBezTo>
                      <a:pt x="48" y="635"/>
                      <a:pt x="50" y="635"/>
                      <a:pt x="53" y="636"/>
                    </a:cubicBezTo>
                    <a:cubicBezTo>
                      <a:pt x="55" y="636"/>
                      <a:pt x="56" y="637"/>
                      <a:pt x="59" y="637"/>
                    </a:cubicBezTo>
                    <a:cubicBezTo>
                      <a:pt x="59" y="637"/>
                      <a:pt x="59" y="637"/>
                      <a:pt x="60" y="637"/>
                    </a:cubicBezTo>
                    <a:cubicBezTo>
                      <a:pt x="64" y="637"/>
                      <a:pt x="64" y="625"/>
                      <a:pt x="64" y="618"/>
                    </a:cubicBezTo>
                    <a:cubicBezTo>
                      <a:pt x="64" y="616"/>
                      <a:pt x="64" y="614"/>
                      <a:pt x="64" y="612"/>
                    </a:cubicBezTo>
                    <a:cubicBezTo>
                      <a:pt x="65" y="610"/>
                      <a:pt x="65" y="610"/>
                      <a:pt x="65" y="610"/>
                    </a:cubicBezTo>
                    <a:cubicBezTo>
                      <a:pt x="65" y="601"/>
                      <a:pt x="66" y="586"/>
                      <a:pt x="82" y="586"/>
                    </a:cubicBezTo>
                    <a:cubicBezTo>
                      <a:pt x="90" y="586"/>
                      <a:pt x="96" y="595"/>
                      <a:pt x="103" y="605"/>
                    </a:cubicBezTo>
                    <a:cubicBezTo>
                      <a:pt x="112" y="618"/>
                      <a:pt x="123" y="635"/>
                      <a:pt x="138" y="637"/>
                    </a:cubicBezTo>
                    <a:cubicBezTo>
                      <a:pt x="145" y="638"/>
                      <a:pt x="150" y="637"/>
                      <a:pt x="152" y="634"/>
                    </a:cubicBezTo>
                    <a:cubicBezTo>
                      <a:pt x="156" y="629"/>
                      <a:pt x="156" y="620"/>
                      <a:pt x="155" y="612"/>
                    </a:cubicBezTo>
                    <a:cubicBezTo>
                      <a:pt x="145" y="608"/>
                      <a:pt x="110" y="592"/>
                      <a:pt x="108" y="575"/>
                    </a:cubicBezTo>
                    <a:cubicBezTo>
                      <a:pt x="107" y="572"/>
                      <a:pt x="108" y="566"/>
                      <a:pt x="115" y="561"/>
                    </a:cubicBezTo>
                    <a:cubicBezTo>
                      <a:pt x="134" y="547"/>
                      <a:pt x="183" y="543"/>
                      <a:pt x="220" y="540"/>
                    </a:cubicBezTo>
                    <a:cubicBezTo>
                      <a:pt x="231" y="539"/>
                      <a:pt x="241" y="538"/>
                      <a:pt x="247" y="538"/>
                    </a:cubicBezTo>
                    <a:cubicBezTo>
                      <a:pt x="264" y="535"/>
                      <a:pt x="336" y="532"/>
                      <a:pt x="388" y="531"/>
                    </a:cubicBezTo>
                    <a:cubicBezTo>
                      <a:pt x="408" y="530"/>
                      <a:pt x="426" y="529"/>
                      <a:pt x="435" y="529"/>
                    </a:cubicBezTo>
                    <a:cubicBezTo>
                      <a:pt x="445" y="529"/>
                      <a:pt x="457" y="529"/>
                      <a:pt x="470" y="529"/>
                    </a:cubicBezTo>
                    <a:cubicBezTo>
                      <a:pt x="498" y="529"/>
                      <a:pt x="530" y="529"/>
                      <a:pt x="544" y="523"/>
                    </a:cubicBezTo>
                    <a:cubicBezTo>
                      <a:pt x="565" y="514"/>
                      <a:pt x="618" y="507"/>
                      <a:pt x="643" y="515"/>
                    </a:cubicBezTo>
                    <a:cubicBezTo>
                      <a:pt x="651" y="518"/>
                      <a:pt x="659" y="523"/>
                      <a:pt x="666" y="527"/>
                    </a:cubicBezTo>
                    <a:cubicBezTo>
                      <a:pt x="670" y="529"/>
                      <a:pt x="677" y="533"/>
                      <a:pt x="679" y="533"/>
                    </a:cubicBezTo>
                    <a:cubicBezTo>
                      <a:pt x="680" y="533"/>
                      <a:pt x="680" y="531"/>
                      <a:pt x="679" y="527"/>
                    </a:cubicBezTo>
                    <a:cubicBezTo>
                      <a:pt x="677" y="517"/>
                      <a:pt x="673" y="508"/>
                      <a:pt x="669" y="501"/>
                    </a:cubicBezTo>
                    <a:cubicBezTo>
                      <a:pt x="665" y="492"/>
                      <a:pt x="662" y="486"/>
                      <a:pt x="665" y="481"/>
                    </a:cubicBezTo>
                    <a:cubicBezTo>
                      <a:pt x="666" y="480"/>
                      <a:pt x="668" y="478"/>
                      <a:pt x="672" y="478"/>
                    </a:cubicBezTo>
                    <a:cubicBezTo>
                      <a:pt x="721" y="478"/>
                      <a:pt x="721" y="478"/>
                      <a:pt x="721" y="478"/>
                    </a:cubicBezTo>
                    <a:cubicBezTo>
                      <a:pt x="721" y="474"/>
                      <a:pt x="721" y="469"/>
                      <a:pt x="721" y="462"/>
                    </a:cubicBezTo>
                    <a:cubicBezTo>
                      <a:pt x="723" y="449"/>
                      <a:pt x="721" y="445"/>
                      <a:pt x="717" y="438"/>
                    </a:cubicBezTo>
                    <a:cubicBezTo>
                      <a:pt x="717" y="436"/>
                      <a:pt x="716" y="435"/>
                      <a:pt x="715" y="433"/>
                    </a:cubicBezTo>
                    <a:cubicBezTo>
                      <a:pt x="714" y="430"/>
                      <a:pt x="712" y="428"/>
                      <a:pt x="711" y="426"/>
                    </a:cubicBezTo>
                    <a:cubicBezTo>
                      <a:pt x="708" y="422"/>
                      <a:pt x="705" y="417"/>
                      <a:pt x="712" y="411"/>
                    </a:cubicBezTo>
                    <a:cubicBezTo>
                      <a:pt x="715" y="407"/>
                      <a:pt x="716" y="403"/>
                      <a:pt x="716" y="396"/>
                    </a:cubicBezTo>
                    <a:cubicBezTo>
                      <a:pt x="717" y="393"/>
                      <a:pt x="717" y="390"/>
                      <a:pt x="717" y="387"/>
                    </a:cubicBezTo>
                    <a:cubicBezTo>
                      <a:pt x="719" y="377"/>
                      <a:pt x="724" y="373"/>
                      <a:pt x="729" y="370"/>
                    </a:cubicBezTo>
                    <a:cubicBezTo>
                      <a:pt x="730" y="369"/>
                      <a:pt x="732" y="367"/>
                      <a:pt x="733" y="366"/>
                    </a:cubicBezTo>
                    <a:cubicBezTo>
                      <a:pt x="734" y="365"/>
                      <a:pt x="734" y="364"/>
                      <a:pt x="734" y="364"/>
                    </a:cubicBezTo>
                    <a:cubicBezTo>
                      <a:pt x="733" y="362"/>
                      <a:pt x="730" y="359"/>
                      <a:pt x="726" y="358"/>
                    </a:cubicBezTo>
                    <a:cubicBezTo>
                      <a:pt x="722" y="356"/>
                      <a:pt x="720" y="353"/>
                      <a:pt x="719" y="350"/>
                    </a:cubicBezTo>
                    <a:cubicBezTo>
                      <a:pt x="718" y="343"/>
                      <a:pt x="723" y="336"/>
                      <a:pt x="733" y="328"/>
                    </a:cubicBezTo>
                    <a:cubicBezTo>
                      <a:pt x="745" y="319"/>
                      <a:pt x="742" y="304"/>
                      <a:pt x="739" y="291"/>
                    </a:cubicBezTo>
                    <a:cubicBezTo>
                      <a:pt x="738" y="289"/>
                      <a:pt x="738" y="286"/>
                      <a:pt x="738" y="284"/>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7">
                <a:extLst>
                  <a:ext uri="{FF2B5EF4-FFF2-40B4-BE49-F238E27FC236}">
                    <a16:creationId xmlns:a16="http://schemas.microsoft.com/office/drawing/2014/main" id="{EB319FD1-DC3A-4314-B995-35371F2D91E7}"/>
                  </a:ext>
                </a:extLst>
              </p:cNvPr>
              <p:cNvSpPr>
                <a:spLocks/>
              </p:cNvSpPr>
              <p:nvPr/>
            </p:nvSpPr>
            <p:spPr bwMode="auto">
              <a:xfrm>
                <a:off x="2719" y="3646"/>
                <a:ext cx="20" cy="12"/>
              </a:xfrm>
              <a:custGeom>
                <a:avLst/>
                <a:gdLst>
                  <a:gd name="T0" fmla="*/ 13 w 17"/>
                  <a:gd name="T1" fmla="*/ 3 h 10"/>
                  <a:gd name="T2" fmla="*/ 11 w 17"/>
                  <a:gd name="T3" fmla="*/ 0 h 10"/>
                  <a:gd name="T4" fmla="*/ 0 w 17"/>
                  <a:gd name="T5" fmla="*/ 5 h 10"/>
                  <a:gd name="T6" fmla="*/ 6 w 17"/>
                  <a:gd name="T7" fmla="*/ 10 h 10"/>
                  <a:gd name="T8" fmla="*/ 12 w 17"/>
                  <a:gd name="T9" fmla="*/ 10 h 10"/>
                  <a:gd name="T10" fmla="*/ 17 w 17"/>
                  <a:gd name="T11" fmla="*/ 10 h 10"/>
                  <a:gd name="T12" fmla="*/ 15 w 17"/>
                  <a:gd name="T13" fmla="*/ 6 h 10"/>
                  <a:gd name="T14" fmla="*/ 13 w 17"/>
                  <a:gd name="T15" fmla="*/ 3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3" y="3"/>
                    </a:moveTo>
                    <a:cubicBezTo>
                      <a:pt x="12" y="2"/>
                      <a:pt x="12" y="1"/>
                      <a:pt x="11" y="0"/>
                    </a:cubicBezTo>
                    <a:cubicBezTo>
                      <a:pt x="8" y="3"/>
                      <a:pt x="4" y="4"/>
                      <a:pt x="0" y="5"/>
                    </a:cubicBezTo>
                    <a:cubicBezTo>
                      <a:pt x="3" y="6"/>
                      <a:pt x="5" y="8"/>
                      <a:pt x="6" y="10"/>
                    </a:cubicBezTo>
                    <a:cubicBezTo>
                      <a:pt x="7" y="10"/>
                      <a:pt x="10" y="10"/>
                      <a:pt x="12" y="10"/>
                    </a:cubicBezTo>
                    <a:cubicBezTo>
                      <a:pt x="14" y="10"/>
                      <a:pt x="16" y="10"/>
                      <a:pt x="17" y="10"/>
                    </a:cubicBezTo>
                    <a:cubicBezTo>
                      <a:pt x="17" y="9"/>
                      <a:pt x="15" y="6"/>
                      <a:pt x="15" y="6"/>
                    </a:cubicBezTo>
                    <a:cubicBezTo>
                      <a:pt x="14" y="5"/>
                      <a:pt x="13" y="4"/>
                      <a:pt x="1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8">
                <a:extLst>
                  <a:ext uri="{FF2B5EF4-FFF2-40B4-BE49-F238E27FC236}">
                    <a16:creationId xmlns:a16="http://schemas.microsoft.com/office/drawing/2014/main" id="{AC7750DD-EE50-4335-83EA-C2A960081C75}"/>
                  </a:ext>
                </a:extLst>
              </p:cNvPr>
              <p:cNvSpPr>
                <a:spLocks/>
              </p:cNvSpPr>
              <p:nvPr/>
            </p:nvSpPr>
            <p:spPr bwMode="auto">
              <a:xfrm>
                <a:off x="4563" y="859"/>
                <a:ext cx="597" cy="308"/>
              </a:xfrm>
              <a:custGeom>
                <a:avLst/>
                <a:gdLst>
                  <a:gd name="T0" fmla="*/ 48 w 508"/>
                  <a:gd name="T1" fmla="*/ 150 h 261"/>
                  <a:gd name="T2" fmla="*/ 86 w 508"/>
                  <a:gd name="T3" fmla="*/ 152 h 261"/>
                  <a:gd name="T4" fmla="*/ 130 w 508"/>
                  <a:gd name="T5" fmla="*/ 171 h 261"/>
                  <a:gd name="T6" fmla="*/ 155 w 508"/>
                  <a:gd name="T7" fmla="*/ 178 h 261"/>
                  <a:gd name="T8" fmla="*/ 209 w 508"/>
                  <a:gd name="T9" fmla="*/ 206 h 261"/>
                  <a:gd name="T10" fmla="*/ 222 w 508"/>
                  <a:gd name="T11" fmla="*/ 242 h 261"/>
                  <a:gd name="T12" fmla="*/ 227 w 508"/>
                  <a:gd name="T13" fmla="*/ 259 h 261"/>
                  <a:gd name="T14" fmla="*/ 259 w 508"/>
                  <a:gd name="T15" fmla="*/ 204 h 261"/>
                  <a:gd name="T16" fmla="*/ 295 w 508"/>
                  <a:gd name="T17" fmla="*/ 177 h 261"/>
                  <a:gd name="T18" fmla="*/ 304 w 508"/>
                  <a:gd name="T19" fmla="*/ 165 h 261"/>
                  <a:gd name="T20" fmla="*/ 312 w 508"/>
                  <a:gd name="T21" fmla="*/ 158 h 261"/>
                  <a:gd name="T22" fmla="*/ 331 w 508"/>
                  <a:gd name="T23" fmla="*/ 168 h 261"/>
                  <a:gd name="T24" fmla="*/ 338 w 508"/>
                  <a:gd name="T25" fmla="*/ 160 h 261"/>
                  <a:gd name="T26" fmla="*/ 345 w 508"/>
                  <a:gd name="T27" fmla="*/ 148 h 261"/>
                  <a:gd name="T28" fmla="*/ 354 w 508"/>
                  <a:gd name="T29" fmla="*/ 141 h 261"/>
                  <a:gd name="T30" fmla="*/ 360 w 508"/>
                  <a:gd name="T31" fmla="*/ 143 h 261"/>
                  <a:gd name="T32" fmla="*/ 374 w 508"/>
                  <a:gd name="T33" fmla="*/ 139 h 261"/>
                  <a:gd name="T34" fmla="*/ 398 w 508"/>
                  <a:gd name="T35" fmla="*/ 139 h 261"/>
                  <a:gd name="T36" fmla="*/ 411 w 508"/>
                  <a:gd name="T37" fmla="*/ 147 h 261"/>
                  <a:gd name="T38" fmla="*/ 436 w 508"/>
                  <a:gd name="T39" fmla="*/ 157 h 261"/>
                  <a:gd name="T40" fmla="*/ 430 w 508"/>
                  <a:gd name="T41" fmla="*/ 142 h 261"/>
                  <a:gd name="T42" fmla="*/ 450 w 508"/>
                  <a:gd name="T43" fmla="*/ 132 h 261"/>
                  <a:gd name="T44" fmla="*/ 468 w 508"/>
                  <a:gd name="T45" fmla="*/ 124 h 261"/>
                  <a:gd name="T46" fmla="*/ 486 w 508"/>
                  <a:gd name="T47" fmla="*/ 128 h 261"/>
                  <a:gd name="T48" fmla="*/ 507 w 508"/>
                  <a:gd name="T49" fmla="*/ 121 h 261"/>
                  <a:gd name="T50" fmla="*/ 467 w 508"/>
                  <a:gd name="T51" fmla="*/ 65 h 261"/>
                  <a:gd name="T52" fmla="*/ 424 w 508"/>
                  <a:gd name="T53" fmla="*/ 39 h 261"/>
                  <a:gd name="T54" fmla="*/ 416 w 508"/>
                  <a:gd name="T55" fmla="*/ 28 h 261"/>
                  <a:gd name="T56" fmla="*/ 393 w 508"/>
                  <a:gd name="T57" fmla="*/ 44 h 261"/>
                  <a:gd name="T58" fmla="*/ 366 w 508"/>
                  <a:gd name="T59" fmla="*/ 58 h 261"/>
                  <a:gd name="T60" fmla="*/ 296 w 508"/>
                  <a:gd name="T61" fmla="*/ 64 h 261"/>
                  <a:gd name="T62" fmla="*/ 256 w 508"/>
                  <a:gd name="T63" fmla="*/ 83 h 261"/>
                  <a:gd name="T64" fmla="*/ 240 w 508"/>
                  <a:gd name="T65" fmla="*/ 77 h 261"/>
                  <a:gd name="T66" fmla="*/ 226 w 508"/>
                  <a:gd name="T67" fmla="*/ 84 h 261"/>
                  <a:gd name="T68" fmla="*/ 175 w 508"/>
                  <a:gd name="T69" fmla="*/ 43 h 261"/>
                  <a:gd name="T70" fmla="*/ 131 w 508"/>
                  <a:gd name="T71" fmla="*/ 56 h 261"/>
                  <a:gd name="T72" fmla="*/ 133 w 508"/>
                  <a:gd name="T73" fmla="*/ 23 h 261"/>
                  <a:gd name="T74" fmla="*/ 166 w 508"/>
                  <a:gd name="T75" fmla="*/ 9 h 261"/>
                  <a:gd name="T76" fmla="*/ 154 w 508"/>
                  <a:gd name="T77" fmla="*/ 0 h 261"/>
                  <a:gd name="T78" fmla="*/ 111 w 508"/>
                  <a:gd name="T79" fmla="*/ 36 h 261"/>
                  <a:gd name="T80" fmla="*/ 12 w 508"/>
                  <a:gd name="T81" fmla="*/ 114 h 261"/>
                  <a:gd name="T82" fmla="*/ 18 w 508"/>
                  <a:gd name="T83" fmla="*/ 1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8" h="261">
                    <a:moveTo>
                      <a:pt x="18" y="142"/>
                    </a:moveTo>
                    <a:cubicBezTo>
                      <a:pt x="26" y="150"/>
                      <a:pt x="37" y="150"/>
                      <a:pt x="48" y="150"/>
                    </a:cubicBezTo>
                    <a:cubicBezTo>
                      <a:pt x="51" y="150"/>
                      <a:pt x="55" y="150"/>
                      <a:pt x="59" y="149"/>
                    </a:cubicBezTo>
                    <a:cubicBezTo>
                      <a:pt x="70" y="147"/>
                      <a:pt x="81" y="145"/>
                      <a:pt x="86" y="152"/>
                    </a:cubicBezTo>
                    <a:cubicBezTo>
                      <a:pt x="91" y="158"/>
                      <a:pt x="108" y="165"/>
                      <a:pt x="114" y="165"/>
                    </a:cubicBezTo>
                    <a:cubicBezTo>
                      <a:pt x="117" y="165"/>
                      <a:pt x="122" y="167"/>
                      <a:pt x="130" y="171"/>
                    </a:cubicBezTo>
                    <a:cubicBezTo>
                      <a:pt x="136" y="174"/>
                      <a:pt x="145" y="178"/>
                      <a:pt x="149" y="178"/>
                    </a:cubicBezTo>
                    <a:cubicBezTo>
                      <a:pt x="151" y="178"/>
                      <a:pt x="153" y="178"/>
                      <a:pt x="155" y="178"/>
                    </a:cubicBezTo>
                    <a:cubicBezTo>
                      <a:pt x="167" y="177"/>
                      <a:pt x="183" y="177"/>
                      <a:pt x="188" y="187"/>
                    </a:cubicBezTo>
                    <a:cubicBezTo>
                      <a:pt x="192" y="197"/>
                      <a:pt x="201" y="204"/>
                      <a:pt x="209" y="206"/>
                    </a:cubicBezTo>
                    <a:cubicBezTo>
                      <a:pt x="221" y="211"/>
                      <a:pt x="222" y="238"/>
                      <a:pt x="222" y="238"/>
                    </a:cubicBezTo>
                    <a:cubicBezTo>
                      <a:pt x="222" y="239"/>
                      <a:pt x="222" y="241"/>
                      <a:pt x="222" y="242"/>
                    </a:cubicBezTo>
                    <a:cubicBezTo>
                      <a:pt x="221" y="256"/>
                      <a:pt x="222" y="260"/>
                      <a:pt x="224" y="260"/>
                    </a:cubicBezTo>
                    <a:cubicBezTo>
                      <a:pt x="224" y="261"/>
                      <a:pt x="225" y="261"/>
                      <a:pt x="227" y="259"/>
                    </a:cubicBezTo>
                    <a:cubicBezTo>
                      <a:pt x="242" y="231"/>
                      <a:pt x="257" y="207"/>
                      <a:pt x="258" y="206"/>
                    </a:cubicBezTo>
                    <a:cubicBezTo>
                      <a:pt x="259" y="204"/>
                      <a:pt x="259" y="204"/>
                      <a:pt x="259" y="204"/>
                    </a:cubicBezTo>
                    <a:cubicBezTo>
                      <a:pt x="264" y="198"/>
                      <a:pt x="273" y="189"/>
                      <a:pt x="284" y="186"/>
                    </a:cubicBezTo>
                    <a:cubicBezTo>
                      <a:pt x="290" y="185"/>
                      <a:pt x="292" y="181"/>
                      <a:pt x="295" y="177"/>
                    </a:cubicBezTo>
                    <a:cubicBezTo>
                      <a:pt x="296" y="176"/>
                      <a:pt x="297" y="174"/>
                      <a:pt x="299" y="172"/>
                    </a:cubicBezTo>
                    <a:cubicBezTo>
                      <a:pt x="302" y="170"/>
                      <a:pt x="303" y="167"/>
                      <a:pt x="304" y="165"/>
                    </a:cubicBezTo>
                    <a:cubicBezTo>
                      <a:pt x="304" y="164"/>
                      <a:pt x="305" y="162"/>
                      <a:pt x="306" y="161"/>
                    </a:cubicBezTo>
                    <a:cubicBezTo>
                      <a:pt x="307" y="159"/>
                      <a:pt x="310" y="158"/>
                      <a:pt x="312" y="158"/>
                    </a:cubicBezTo>
                    <a:cubicBezTo>
                      <a:pt x="316" y="158"/>
                      <a:pt x="319" y="160"/>
                      <a:pt x="322" y="164"/>
                    </a:cubicBezTo>
                    <a:cubicBezTo>
                      <a:pt x="323" y="166"/>
                      <a:pt x="326" y="168"/>
                      <a:pt x="331" y="168"/>
                    </a:cubicBezTo>
                    <a:cubicBezTo>
                      <a:pt x="332" y="168"/>
                      <a:pt x="334" y="168"/>
                      <a:pt x="335" y="168"/>
                    </a:cubicBezTo>
                    <a:cubicBezTo>
                      <a:pt x="338" y="167"/>
                      <a:pt x="339" y="165"/>
                      <a:pt x="338" y="160"/>
                    </a:cubicBezTo>
                    <a:cubicBezTo>
                      <a:pt x="338" y="159"/>
                      <a:pt x="338" y="159"/>
                      <a:pt x="338" y="158"/>
                    </a:cubicBezTo>
                    <a:cubicBezTo>
                      <a:pt x="338" y="155"/>
                      <a:pt x="340" y="153"/>
                      <a:pt x="345" y="148"/>
                    </a:cubicBezTo>
                    <a:cubicBezTo>
                      <a:pt x="346" y="147"/>
                      <a:pt x="347" y="146"/>
                      <a:pt x="347" y="145"/>
                    </a:cubicBezTo>
                    <a:cubicBezTo>
                      <a:pt x="349" y="143"/>
                      <a:pt x="351" y="141"/>
                      <a:pt x="354" y="141"/>
                    </a:cubicBezTo>
                    <a:cubicBezTo>
                      <a:pt x="356" y="141"/>
                      <a:pt x="357" y="142"/>
                      <a:pt x="359" y="142"/>
                    </a:cubicBezTo>
                    <a:cubicBezTo>
                      <a:pt x="360" y="143"/>
                      <a:pt x="360" y="143"/>
                      <a:pt x="360" y="143"/>
                    </a:cubicBezTo>
                    <a:cubicBezTo>
                      <a:pt x="363" y="144"/>
                      <a:pt x="369" y="143"/>
                      <a:pt x="372" y="141"/>
                    </a:cubicBezTo>
                    <a:cubicBezTo>
                      <a:pt x="373" y="140"/>
                      <a:pt x="373" y="140"/>
                      <a:pt x="374" y="139"/>
                    </a:cubicBezTo>
                    <a:cubicBezTo>
                      <a:pt x="376" y="137"/>
                      <a:pt x="379" y="135"/>
                      <a:pt x="385" y="134"/>
                    </a:cubicBezTo>
                    <a:cubicBezTo>
                      <a:pt x="391" y="134"/>
                      <a:pt x="394" y="136"/>
                      <a:pt x="398" y="139"/>
                    </a:cubicBezTo>
                    <a:cubicBezTo>
                      <a:pt x="400" y="140"/>
                      <a:pt x="402" y="142"/>
                      <a:pt x="405" y="143"/>
                    </a:cubicBezTo>
                    <a:cubicBezTo>
                      <a:pt x="407" y="145"/>
                      <a:pt x="409" y="146"/>
                      <a:pt x="411" y="147"/>
                    </a:cubicBezTo>
                    <a:cubicBezTo>
                      <a:pt x="417" y="151"/>
                      <a:pt x="423" y="155"/>
                      <a:pt x="434" y="157"/>
                    </a:cubicBezTo>
                    <a:cubicBezTo>
                      <a:pt x="434" y="157"/>
                      <a:pt x="435" y="157"/>
                      <a:pt x="436" y="157"/>
                    </a:cubicBezTo>
                    <a:cubicBezTo>
                      <a:pt x="436" y="155"/>
                      <a:pt x="434" y="152"/>
                      <a:pt x="433" y="150"/>
                    </a:cubicBezTo>
                    <a:cubicBezTo>
                      <a:pt x="431" y="146"/>
                      <a:pt x="430" y="144"/>
                      <a:pt x="430" y="142"/>
                    </a:cubicBezTo>
                    <a:cubicBezTo>
                      <a:pt x="430" y="135"/>
                      <a:pt x="439" y="134"/>
                      <a:pt x="446" y="133"/>
                    </a:cubicBezTo>
                    <a:cubicBezTo>
                      <a:pt x="448" y="132"/>
                      <a:pt x="450" y="132"/>
                      <a:pt x="450" y="132"/>
                    </a:cubicBezTo>
                    <a:cubicBezTo>
                      <a:pt x="450" y="132"/>
                      <a:pt x="451" y="131"/>
                      <a:pt x="451" y="131"/>
                    </a:cubicBezTo>
                    <a:cubicBezTo>
                      <a:pt x="453" y="128"/>
                      <a:pt x="458" y="122"/>
                      <a:pt x="468" y="124"/>
                    </a:cubicBezTo>
                    <a:cubicBezTo>
                      <a:pt x="472" y="124"/>
                      <a:pt x="474" y="125"/>
                      <a:pt x="477" y="126"/>
                    </a:cubicBezTo>
                    <a:cubicBezTo>
                      <a:pt x="479" y="127"/>
                      <a:pt x="481" y="128"/>
                      <a:pt x="486" y="128"/>
                    </a:cubicBezTo>
                    <a:cubicBezTo>
                      <a:pt x="489" y="128"/>
                      <a:pt x="494" y="128"/>
                      <a:pt x="499" y="126"/>
                    </a:cubicBezTo>
                    <a:cubicBezTo>
                      <a:pt x="504" y="125"/>
                      <a:pt x="506" y="124"/>
                      <a:pt x="507" y="121"/>
                    </a:cubicBezTo>
                    <a:cubicBezTo>
                      <a:pt x="508" y="115"/>
                      <a:pt x="499" y="105"/>
                      <a:pt x="495" y="102"/>
                    </a:cubicBezTo>
                    <a:cubicBezTo>
                      <a:pt x="488" y="97"/>
                      <a:pt x="471" y="73"/>
                      <a:pt x="467" y="65"/>
                    </a:cubicBezTo>
                    <a:cubicBezTo>
                      <a:pt x="464" y="60"/>
                      <a:pt x="452" y="58"/>
                      <a:pt x="446" y="58"/>
                    </a:cubicBezTo>
                    <a:cubicBezTo>
                      <a:pt x="427" y="58"/>
                      <a:pt x="425" y="47"/>
                      <a:pt x="424" y="39"/>
                    </a:cubicBezTo>
                    <a:cubicBezTo>
                      <a:pt x="423" y="37"/>
                      <a:pt x="423" y="35"/>
                      <a:pt x="422" y="33"/>
                    </a:cubicBezTo>
                    <a:cubicBezTo>
                      <a:pt x="420" y="28"/>
                      <a:pt x="417" y="28"/>
                      <a:pt x="416" y="28"/>
                    </a:cubicBezTo>
                    <a:cubicBezTo>
                      <a:pt x="410" y="28"/>
                      <a:pt x="401" y="36"/>
                      <a:pt x="396" y="41"/>
                    </a:cubicBezTo>
                    <a:cubicBezTo>
                      <a:pt x="395" y="42"/>
                      <a:pt x="394" y="43"/>
                      <a:pt x="393" y="44"/>
                    </a:cubicBezTo>
                    <a:cubicBezTo>
                      <a:pt x="387" y="50"/>
                      <a:pt x="380" y="52"/>
                      <a:pt x="374" y="55"/>
                    </a:cubicBezTo>
                    <a:cubicBezTo>
                      <a:pt x="371" y="56"/>
                      <a:pt x="368" y="57"/>
                      <a:pt x="366" y="58"/>
                    </a:cubicBezTo>
                    <a:cubicBezTo>
                      <a:pt x="360" y="62"/>
                      <a:pt x="343" y="63"/>
                      <a:pt x="316" y="63"/>
                    </a:cubicBezTo>
                    <a:cubicBezTo>
                      <a:pt x="308" y="63"/>
                      <a:pt x="300" y="63"/>
                      <a:pt x="296" y="64"/>
                    </a:cubicBezTo>
                    <a:cubicBezTo>
                      <a:pt x="282" y="65"/>
                      <a:pt x="274" y="68"/>
                      <a:pt x="271" y="73"/>
                    </a:cubicBezTo>
                    <a:cubicBezTo>
                      <a:pt x="267" y="80"/>
                      <a:pt x="262" y="83"/>
                      <a:pt x="256" y="83"/>
                    </a:cubicBezTo>
                    <a:cubicBezTo>
                      <a:pt x="254" y="83"/>
                      <a:pt x="252" y="83"/>
                      <a:pt x="250" y="81"/>
                    </a:cubicBezTo>
                    <a:cubicBezTo>
                      <a:pt x="247" y="80"/>
                      <a:pt x="242" y="76"/>
                      <a:pt x="240" y="77"/>
                    </a:cubicBezTo>
                    <a:cubicBezTo>
                      <a:pt x="239" y="78"/>
                      <a:pt x="238" y="78"/>
                      <a:pt x="237" y="79"/>
                    </a:cubicBezTo>
                    <a:cubicBezTo>
                      <a:pt x="235" y="81"/>
                      <a:pt x="233" y="84"/>
                      <a:pt x="226" y="84"/>
                    </a:cubicBezTo>
                    <a:cubicBezTo>
                      <a:pt x="216" y="84"/>
                      <a:pt x="209" y="73"/>
                      <a:pt x="195" y="53"/>
                    </a:cubicBezTo>
                    <a:cubicBezTo>
                      <a:pt x="190" y="46"/>
                      <a:pt x="184" y="43"/>
                      <a:pt x="175" y="43"/>
                    </a:cubicBezTo>
                    <a:cubicBezTo>
                      <a:pt x="166" y="43"/>
                      <a:pt x="158" y="46"/>
                      <a:pt x="155" y="49"/>
                    </a:cubicBezTo>
                    <a:cubicBezTo>
                      <a:pt x="149" y="54"/>
                      <a:pt x="144" y="58"/>
                      <a:pt x="131" y="56"/>
                    </a:cubicBezTo>
                    <a:cubicBezTo>
                      <a:pt x="126" y="55"/>
                      <a:pt x="124" y="52"/>
                      <a:pt x="124" y="50"/>
                    </a:cubicBezTo>
                    <a:cubicBezTo>
                      <a:pt x="121" y="44"/>
                      <a:pt x="124" y="35"/>
                      <a:pt x="133" y="23"/>
                    </a:cubicBezTo>
                    <a:cubicBezTo>
                      <a:pt x="138" y="15"/>
                      <a:pt x="145" y="14"/>
                      <a:pt x="154" y="12"/>
                    </a:cubicBezTo>
                    <a:cubicBezTo>
                      <a:pt x="157" y="11"/>
                      <a:pt x="161" y="11"/>
                      <a:pt x="166" y="9"/>
                    </a:cubicBezTo>
                    <a:cubicBezTo>
                      <a:pt x="169" y="8"/>
                      <a:pt x="169" y="7"/>
                      <a:pt x="169" y="7"/>
                    </a:cubicBezTo>
                    <a:cubicBezTo>
                      <a:pt x="169" y="6"/>
                      <a:pt x="162" y="1"/>
                      <a:pt x="154" y="0"/>
                    </a:cubicBezTo>
                    <a:cubicBezTo>
                      <a:pt x="154" y="0"/>
                      <a:pt x="153" y="0"/>
                      <a:pt x="152" y="0"/>
                    </a:cubicBezTo>
                    <a:cubicBezTo>
                      <a:pt x="129" y="0"/>
                      <a:pt x="114" y="30"/>
                      <a:pt x="111" y="36"/>
                    </a:cubicBezTo>
                    <a:cubicBezTo>
                      <a:pt x="106" y="49"/>
                      <a:pt x="94" y="65"/>
                      <a:pt x="77" y="72"/>
                    </a:cubicBezTo>
                    <a:cubicBezTo>
                      <a:pt x="61" y="79"/>
                      <a:pt x="20" y="104"/>
                      <a:pt x="12" y="114"/>
                    </a:cubicBezTo>
                    <a:cubicBezTo>
                      <a:pt x="8" y="120"/>
                      <a:pt x="3" y="123"/>
                      <a:pt x="0" y="125"/>
                    </a:cubicBezTo>
                    <a:cubicBezTo>
                      <a:pt x="5" y="129"/>
                      <a:pt x="13" y="136"/>
                      <a:pt x="18"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9">
                <a:extLst>
                  <a:ext uri="{FF2B5EF4-FFF2-40B4-BE49-F238E27FC236}">
                    <a16:creationId xmlns:a16="http://schemas.microsoft.com/office/drawing/2014/main" id="{F7C2119E-6066-407C-A007-A01D9554C12D}"/>
                  </a:ext>
                </a:extLst>
              </p:cNvPr>
              <p:cNvSpPr>
                <a:spLocks/>
              </p:cNvSpPr>
              <p:nvPr/>
            </p:nvSpPr>
            <p:spPr bwMode="auto">
              <a:xfrm>
                <a:off x="4949" y="1055"/>
                <a:ext cx="454" cy="578"/>
              </a:xfrm>
              <a:custGeom>
                <a:avLst/>
                <a:gdLst>
                  <a:gd name="T0" fmla="*/ 126 w 386"/>
                  <a:gd name="T1" fmla="*/ 480 h 491"/>
                  <a:gd name="T2" fmla="*/ 136 w 386"/>
                  <a:gd name="T3" fmla="*/ 471 h 491"/>
                  <a:gd name="T4" fmla="*/ 178 w 386"/>
                  <a:gd name="T5" fmla="*/ 464 h 491"/>
                  <a:gd name="T6" fmla="*/ 252 w 386"/>
                  <a:gd name="T7" fmla="*/ 455 h 491"/>
                  <a:gd name="T8" fmla="*/ 323 w 386"/>
                  <a:gd name="T9" fmla="*/ 423 h 491"/>
                  <a:gd name="T10" fmla="*/ 335 w 386"/>
                  <a:gd name="T11" fmla="*/ 380 h 491"/>
                  <a:gd name="T12" fmla="*/ 349 w 386"/>
                  <a:gd name="T13" fmla="*/ 358 h 491"/>
                  <a:gd name="T14" fmla="*/ 373 w 386"/>
                  <a:gd name="T15" fmla="*/ 341 h 491"/>
                  <a:gd name="T16" fmla="*/ 375 w 386"/>
                  <a:gd name="T17" fmla="*/ 331 h 491"/>
                  <a:gd name="T18" fmla="*/ 378 w 386"/>
                  <a:gd name="T19" fmla="*/ 313 h 491"/>
                  <a:gd name="T20" fmla="*/ 349 w 386"/>
                  <a:gd name="T21" fmla="*/ 202 h 491"/>
                  <a:gd name="T22" fmla="*/ 282 w 386"/>
                  <a:gd name="T23" fmla="*/ 194 h 491"/>
                  <a:gd name="T24" fmla="*/ 261 w 386"/>
                  <a:gd name="T25" fmla="*/ 222 h 491"/>
                  <a:gd name="T26" fmla="*/ 226 w 386"/>
                  <a:gd name="T27" fmla="*/ 223 h 491"/>
                  <a:gd name="T28" fmla="*/ 212 w 386"/>
                  <a:gd name="T29" fmla="*/ 212 h 491"/>
                  <a:gd name="T30" fmla="*/ 214 w 386"/>
                  <a:gd name="T31" fmla="*/ 199 h 491"/>
                  <a:gd name="T32" fmla="*/ 215 w 386"/>
                  <a:gd name="T33" fmla="*/ 190 h 491"/>
                  <a:gd name="T34" fmla="*/ 230 w 386"/>
                  <a:gd name="T35" fmla="*/ 171 h 491"/>
                  <a:gd name="T36" fmla="*/ 239 w 386"/>
                  <a:gd name="T37" fmla="*/ 157 h 491"/>
                  <a:gd name="T38" fmla="*/ 253 w 386"/>
                  <a:gd name="T39" fmla="*/ 136 h 491"/>
                  <a:gd name="T40" fmla="*/ 260 w 386"/>
                  <a:gd name="T41" fmla="*/ 120 h 491"/>
                  <a:gd name="T42" fmla="*/ 256 w 386"/>
                  <a:gd name="T43" fmla="*/ 94 h 491"/>
                  <a:gd name="T44" fmla="*/ 246 w 386"/>
                  <a:gd name="T45" fmla="*/ 63 h 491"/>
                  <a:gd name="T46" fmla="*/ 243 w 386"/>
                  <a:gd name="T47" fmla="*/ 55 h 491"/>
                  <a:gd name="T48" fmla="*/ 244 w 386"/>
                  <a:gd name="T49" fmla="*/ 31 h 491"/>
                  <a:gd name="T50" fmla="*/ 206 w 386"/>
                  <a:gd name="T51" fmla="*/ 11 h 491"/>
                  <a:gd name="T52" fmla="*/ 189 w 386"/>
                  <a:gd name="T53" fmla="*/ 11 h 491"/>
                  <a:gd name="T54" fmla="*/ 150 w 386"/>
                  <a:gd name="T55" fmla="*/ 5 h 491"/>
                  <a:gd name="T56" fmla="*/ 117 w 386"/>
                  <a:gd name="T57" fmla="*/ 1 h 491"/>
                  <a:gd name="T58" fmla="*/ 99 w 386"/>
                  <a:gd name="T59" fmla="*/ 33 h 491"/>
                  <a:gd name="T60" fmla="*/ 114 w 386"/>
                  <a:gd name="T61" fmla="*/ 51 h 491"/>
                  <a:gd name="T62" fmla="*/ 101 w 386"/>
                  <a:gd name="T63" fmla="*/ 55 h 491"/>
                  <a:gd name="T64" fmla="*/ 78 w 386"/>
                  <a:gd name="T65" fmla="*/ 64 h 491"/>
                  <a:gd name="T66" fmla="*/ 79 w 386"/>
                  <a:gd name="T67" fmla="*/ 101 h 491"/>
                  <a:gd name="T68" fmla="*/ 64 w 386"/>
                  <a:gd name="T69" fmla="*/ 116 h 491"/>
                  <a:gd name="T70" fmla="*/ 53 w 386"/>
                  <a:gd name="T71" fmla="*/ 75 h 491"/>
                  <a:gd name="T72" fmla="*/ 53 w 386"/>
                  <a:gd name="T73" fmla="*/ 60 h 491"/>
                  <a:gd name="T74" fmla="*/ 28 w 386"/>
                  <a:gd name="T75" fmla="*/ 98 h 491"/>
                  <a:gd name="T76" fmla="*/ 17 w 386"/>
                  <a:gd name="T77" fmla="*/ 147 h 491"/>
                  <a:gd name="T78" fmla="*/ 2 w 386"/>
                  <a:gd name="T79" fmla="*/ 244 h 491"/>
                  <a:gd name="T80" fmla="*/ 49 w 386"/>
                  <a:gd name="T81" fmla="*/ 354 h 491"/>
                  <a:gd name="T82" fmla="*/ 37 w 386"/>
                  <a:gd name="T83" fmla="*/ 491 h 491"/>
                  <a:gd name="T84" fmla="*/ 89 w 386"/>
                  <a:gd name="T85" fmla="*/ 48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491">
                    <a:moveTo>
                      <a:pt x="89" y="480"/>
                    </a:moveTo>
                    <a:cubicBezTo>
                      <a:pt x="94" y="479"/>
                      <a:pt x="116" y="480"/>
                      <a:pt x="126" y="480"/>
                    </a:cubicBezTo>
                    <a:cubicBezTo>
                      <a:pt x="126" y="478"/>
                      <a:pt x="126" y="476"/>
                      <a:pt x="128" y="474"/>
                    </a:cubicBezTo>
                    <a:cubicBezTo>
                      <a:pt x="129" y="473"/>
                      <a:pt x="132" y="471"/>
                      <a:pt x="136" y="471"/>
                    </a:cubicBezTo>
                    <a:cubicBezTo>
                      <a:pt x="168" y="471"/>
                      <a:pt x="168" y="471"/>
                      <a:pt x="168" y="471"/>
                    </a:cubicBezTo>
                    <a:cubicBezTo>
                      <a:pt x="169" y="468"/>
                      <a:pt x="173" y="464"/>
                      <a:pt x="178" y="464"/>
                    </a:cubicBezTo>
                    <a:cubicBezTo>
                      <a:pt x="184" y="463"/>
                      <a:pt x="217" y="464"/>
                      <a:pt x="225" y="464"/>
                    </a:cubicBezTo>
                    <a:cubicBezTo>
                      <a:pt x="228" y="461"/>
                      <a:pt x="237" y="455"/>
                      <a:pt x="252" y="455"/>
                    </a:cubicBezTo>
                    <a:cubicBezTo>
                      <a:pt x="266" y="455"/>
                      <a:pt x="308" y="446"/>
                      <a:pt x="321" y="443"/>
                    </a:cubicBezTo>
                    <a:cubicBezTo>
                      <a:pt x="320" y="438"/>
                      <a:pt x="322" y="430"/>
                      <a:pt x="323" y="423"/>
                    </a:cubicBezTo>
                    <a:cubicBezTo>
                      <a:pt x="324" y="418"/>
                      <a:pt x="325" y="413"/>
                      <a:pt x="325" y="411"/>
                    </a:cubicBezTo>
                    <a:cubicBezTo>
                      <a:pt x="323" y="400"/>
                      <a:pt x="327" y="386"/>
                      <a:pt x="335" y="380"/>
                    </a:cubicBezTo>
                    <a:cubicBezTo>
                      <a:pt x="341" y="376"/>
                      <a:pt x="344" y="373"/>
                      <a:pt x="347" y="369"/>
                    </a:cubicBezTo>
                    <a:cubicBezTo>
                      <a:pt x="348" y="368"/>
                      <a:pt x="349" y="361"/>
                      <a:pt x="349" y="358"/>
                    </a:cubicBezTo>
                    <a:cubicBezTo>
                      <a:pt x="349" y="355"/>
                      <a:pt x="349" y="353"/>
                      <a:pt x="349" y="351"/>
                    </a:cubicBezTo>
                    <a:cubicBezTo>
                      <a:pt x="351" y="341"/>
                      <a:pt x="367" y="341"/>
                      <a:pt x="373" y="341"/>
                    </a:cubicBezTo>
                    <a:cubicBezTo>
                      <a:pt x="373" y="341"/>
                      <a:pt x="374" y="341"/>
                      <a:pt x="374" y="341"/>
                    </a:cubicBezTo>
                    <a:cubicBezTo>
                      <a:pt x="375" y="339"/>
                      <a:pt x="375" y="334"/>
                      <a:pt x="375" y="331"/>
                    </a:cubicBezTo>
                    <a:cubicBezTo>
                      <a:pt x="375" y="328"/>
                      <a:pt x="374" y="326"/>
                      <a:pt x="375" y="324"/>
                    </a:cubicBezTo>
                    <a:cubicBezTo>
                      <a:pt x="375" y="320"/>
                      <a:pt x="376" y="317"/>
                      <a:pt x="378" y="313"/>
                    </a:cubicBezTo>
                    <a:cubicBezTo>
                      <a:pt x="379" y="309"/>
                      <a:pt x="381" y="305"/>
                      <a:pt x="383" y="299"/>
                    </a:cubicBezTo>
                    <a:cubicBezTo>
                      <a:pt x="386" y="288"/>
                      <a:pt x="365" y="231"/>
                      <a:pt x="349" y="202"/>
                    </a:cubicBezTo>
                    <a:cubicBezTo>
                      <a:pt x="333" y="173"/>
                      <a:pt x="323" y="164"/>
                      <a:pt x="306" y="165"/>
                    </a:cubicBezTo>
                    <a:cubicBezTo>
                      <a:pt x="290" y="166"/>
                      <a:pt x="286" y="178"/>
                      <a:pt x="282" y="194"/>
                    </a:cubicBezTo>
                    <a:cubicBezTo>
                      <a:pt x="278" y="206"/>
                      <a:pt x="269" y="215"/>
                      <a:pt x="262" y="221"/>
                    </a:cubicBezTo>
                    <a:cubicBezTo>
                      <a:pt x="261" y="222"/>
                      <a:pt x="261" y="222"/>
                      <a:pt x="261" y="222"/>
                    </a:cubicBezTo>
                    <a:cubicBezTo>
                      <a:pt x="258" y="225"/>
                      <a:pt x="253" y="226"/>
                      <a:pt x="247" y="226"/>
                    </a:cubicBezTo>
                    <a:cubicBezTo>
                      <a:pt x="240" y="226"/>
                      <a:pt x="232" y="225"/>
                      <a:pt x="226" y="223"/>
                    </a:cubicBezTo>
                    <a:cubicBezTo>
                      <a:pt x="222" y="223"/>
                      <a:pt x="222" y="223"/>
                      <a:pt x="222" y="223"/>
                    </a:cubicBezTo>
                    <a:cubicBezTo>
                      <a:pt x="214" y="221"/>
                      <a:pt x="211" y="218"/>
                      <a:pt x="212" y="212"/>
                    </a:cubicBezTo>
                    <a:cubicBezTo>
                      <a:pt x="212" y="211"/>
                      <a:pt x="212" y="211"/>
                      <a:pt x="211" y="210"/>
                    </a:cubicBezTo>
                    <a:cubicBezTo>
                      <a:pt x="208" y="205"/>
                      <a:pt x="212" y="201"/>
                      <a:pt x="214" y="199"/>
                    </a:cubicBezTo>
                    <a:cubicBezTo>
                      <a:pt x="215" y="198"/>
                      <a:pt x="216" y="197"/>
                      <a:pt x="216" y="196"/>
                    </a:cubicBezTo>
                    <a:cubicBezTo>
                      <a:pt x="216" y="194"/>
                      <a:pt x="216" y="192"/>
                      <a:pt x="215" y="190"/>
                    </a:cubicBezTo>
                    <a:cubicBezTo>
                      <a:pt x="215" y="187"/>
                      <a:pt x="214" y="184"/>
                      <a:pt x="215" y="182"/>
                    </a:cubicBezTo>
                    <a:cubicBezTo>
                      <a:pt x="216" y="177"/>
                      <a:pt x="222" y="174"/>
                      <a:pt x="230" y="171"/>
                    </a:cubicBezTo>
                    <a:cubicBezTo>
                      <a:pt x="233" y="171"/>
                      <a:pt x="235" y="170"/>
                      <a:pt x="237" y="169"/>
                    </a:cubicBezTo>
                    <a:cubicBezTo>
                      <a:pt x="239" y="168"/>
                      <a:pt x="239" y="161"/>
                      <a:pt x="239" y="157"/>
                    </a:cubicBezTo>
                    <a:cubicBezTo>
                      <a:pt x="239" y="154"/>
                      <a:pt x="239" y="151"/>
                      <a:pt x="239" y="148"/>
                    </a:cubicBezTo>
                    <a:cubicBezTo>
                      <a:pt x="241" y="144"/>
                      <a:pt x="247" y="140"/>
                      <a:pt x="253" y="136"/>
                    </a:cubicBezTo>
                    <a:cubicBezTo>
                      <a:pt x="257" y="134"/>
                      <a:pt x="261" y="132"/>
                      <a:pt x="263" y="130"/>
                    </a:cubicBezTo>
                    <a:cubicBezTo>
                      <a:pt x="265" y="128"/>
                      <a:pt x="265" y="127"/>
                      <a:pt x="260" y="120"/>
                    </a:cubicBezTo>
                    <a:cubicBezTo>
                      <a:pt x="259" y="119"/>
                      <a:pt x="259" y="119"/>
                      <a:pt x="258" y="118"/>
                    </a:cubicBezTo>
                    <a:cubicBezTo>
                      <a:pt x="253" y="111"/>
                      <a:pt x="255" y="103"/>
                      <a:pt x="256" y="94"/>
                    </a:cubicBezTo>
                    <a:cubicBezTo>
                      <a:pt x="257" y="91"/>
                      <a:pt x="257" y="89"/>
                      <a:pt x="257" y="86"/>
                    </a:cubicBezTo>
                    <a:cubicBezTo>
                      <a:pt x="258" y="78"/>
                      <a:pt x="250" y="68"/>
                      <a:pt x="246" y="63"/>
                    </a:cubicBezTo>
                    <a:cubicBezTo>
                      <a:pt x="245" y="62"/>
                      <a:pt x="244" y="62"/>
                      <a:pt x="244" y="61"/>
                    </a:cubicBezTo>
                    <a:cubicBezTo>
                      <a:pt x="242" y="59"/>
                      <a:pt x="242" y="57"/>
                      <a:pt x="243" y="55"/>
                    </a:cubicBezTo>
                    <a:cubicBezTo>
                      <a:pt x="244" y="50"/>
                      <a:pt x="251" y="46"/>
                      <a:pt x="257" y="44"/>
                    </a:cubicBezTo>
                    <a:cubicBezTo>
                      <a:pt x="255" y="40"/>
                      <a:pt x="247" y="34"/>
                      <a:pt x="244" y="31"/>
                    </a:cubicBezTo>
                    <a:cubicBezTo>
                      <a:pt x="241" y="29"/>
                      <a:pt x="239" y="27"/>
                      <a:pt x="238" y="26"/>
                    </a:cubicBezTo>
                    <a:cubicBezTo>
                      <a:pt x="233" y="21"/>
                      <a:pt x="212" y="11"/>
                      <a:pt x="206" y="11"/>
                    </a:cubicBezTo>
                    <a:cubicBezTo>
                      <a:pt x="205" y="11"/>
                      <a:pt x="203" y="11"/>
                      <a:pt x="201" y="11"/>
                    </a:cubicBezTo>
                    <a:cubicBezTo>
                      <a:pt x="198" y="11"/>
                      <a:pt x="193" y="11"/>
                      <a:pt x="189" y="11"/>
                    </a:cubicBezTo>
                    <a:cubicBezTo>
                      <a:pt x="179" y="11"/>
                      <a:pt x="171" y="11"/>
                      <a:pt x="164" y="9"/>
                    </a:cubicBezTo>
                    <a:cubicBezTo>
                      <a:pt x="158" y="8"/>
                      <a:pt x="154" y="7"/>
                      <a:pt x="150" y="5"/>
                    </a:cubicBezTo>
                    <a:cubicBezTo>
                      <a:pt x="144" y="3"/>
                      <a:pt x="138" y="0"/>
                      <a:pt x="127" y="0"/>
                    </a:cubicBezTo>
                    <a:cubicBezTo>
                      <a:pt x="124" y="0"/>
                      <a:pt x="120" y="1"/>
                      <a:pt x="117" y="1"/>
                    </a:cubicBezTo>
                    <a:cubicBezTo>
                      <a:pt x="91" y="4"/>
                      <a:pt x="89" y="14"/>
                      <a:pt x="89" y="22"/>
                    </a:cubicBezTo>
                    <a:cubicBezTo>
                      <a:pt x="89" y="26"/>
                      <a:pt x="93" y="29"/>
                      <a:pt x="99" y="33"/>
                    </a:cubicBezTo>
                    <a:cubicBezTo>
                      <a:pt x="102" y="36"/>
                      <a:pt x="106" y="39"/>
                      <a:pt x="110" y="42"/>
                    </a:cubicBezTo>
                    <a:cubicBezTo>
                      <a:pt x="111" y="43"/>
                      <a:pt x="115" y="47"/>
                      <a:pt x="114" y="51"/>
                    </a:cubicBezTo>
                    <a:cubicBezTo>
                      <a:pt x="112" y="55"/>
                      <a:pt x="107" y="55"/>
                      <a:pt x="105" y="55"/>
                    </a:cubicBezTo>
                    <a:cubicBezTo>
                      <a:pt x="104" y="55"/>
                      <a:pt x="103" y="55"/>
                      <a:pt x="101" y="55"/>
                    </a:cubicBezTo>
                    <a:cubicBezTo>
                      <a:pt x="99" y="55"/>
                      <a:pt x="97" y="55"/>
                      <a:pt x="96" y="55"/>
                    </a:cubicBezTo>
                    <a:cubicBezTo>
                      <a:pt x="92" y="55"/>
                      <a:pt x="85" y="59"/>
                      <a:pt x="78" y="64"/>
                    </a:cubicBezTo>
                    <a:cubicBezTo>
                      <a:pt x="76" y="67"/>
                      <a:pt x="77" y="82"/>
                      <a:pt x="78" y="90"/>
                    </a:cubicBezTo>
                    <a:cubicBezTo>
                      <a:pt x="79" y="94"/>
                      <a:pt x="79" y="98"/>
                      <a:pt x="79" y="101"/>
                    </a:cubicBezTo>
                    <a:cubicBezTo>
                      <a:pt x="80" y="105"/>
                      <a:pt x="78" y="109"/>
                      <a:pt x="76" y="112"/>
                    </a:cubicBezTo>
                    <a:cubicBezTo>
                      <a:pt x="73" y="114"/>
                      <a:pt x="69" y="116"/>
                      <a:pt x="64" y="116"/>
                    </a:cubicBezTo>
                    <a:cubicBezTo>
                      <a:pt x="61" y="116"/>
                      <a:pt x="59" y="115"/>
                      <a:pt x="57" y="115"/>
                    </a:cubicBezTo>
                    <a:cubicBezTo>
                      <a:pt x="51" y="113"/>
                      <a:pt x="51" y="104"/>
                      <a:pt x="53" y="75"/>
                    </a:cubicBezTo>
                    <a:cubicBezTo>
                      <a:pt x="53" y="70"/>
                      <a:pt x="54" y="65"/>
                      <a:pt x="54" y="62"/>
                    </a:cubicBezTo>
                    <a:cubicBezTo>
                      <a:pt x="54" y="61"/>
                      <a:pt x="54" y="60"/>
                      <a:pt x="53" y="60"/>
                    </a:cubicBezTo>
                    <a:cubicBezTo>
                      <a:pt x="52" y="61"/>
                      <a:pt x="49" y="64"/>
                      <a:pt x="47" y="68"/>
                    </a:cubicBezTo>
                    <a:cubicBezTo>
                      <a:pt x="44" y="78"/>
                      <a:pt x="36" y="87"/>
                      <a:pt x="28" y="98"/>
                    </a:cubicBezTo>
                    <a:cubicBezTo>
                      <a:pt x="25" y="101"/>
                      <a:pt x="25" y="101"/>
                      <a:pt x="25" y="101"/>
                    </a:cubicBezTo>
                    <a:cubicBezTo>
                      <a:pt x="17" y="111"/>
                      <a:pt x="15" y="125"/>
                      <a:pt x="17" y="147"/>
                    </a:cubicBezTo>
                    <a:cubicBezTo>
                      <a:pt x="18" y="158"/>
                      <a:pt x="15" y="171"/>
                      <a:pt x="11" y="187"/>
                    </a:cubicBezTo>
                    <a:cubicBezTo>
                      <a:pt x="7" y="203"/>
                      <a:pt x="3" y="221"/>
                      <a:pt x="2" y="244"/>
                    </a:cubicBezTo>
                    <a:cubicBezTo>
                      <a:pt x="0" y="277"/>
                      <a:pt x="18" y="305"/>
                      <a:pt x="35" y="332"/>
                    </a:cubicBezTo>
                    <a:cubicBezTo>
                      <a:pt x="40" y="340"/>
                      <a:pt x="45" y="347"/>
                      <a:pt x="49" y="354"/>
                    </a:cubicBezTo>
                    <a:cubicBezTo>
                      <a:pt x="72" y="395"/>
                      <a:pt x="57" y="448"/>
                      <a:pt x="51" y="463"/>
                    </a:cubicBezTo>
                    <a:cubicBezTo>
                      <a:pt x="47" y="475"/>
                      <a:pt x="43" y="484"/>
                      <a:pt x="37" y="491"/>
                    </a:cubicBezTo>
                    <a:cubicBezTo>
                      <a:pt x="79" y="488"/>
                      <a:pt x="79" y="488"/>
                      <a:pt x="79" y="488"/>
                    </a:cubicBezTo>
                    <a:cubicBezTo>
                      <a:pt x="81" y="485"/>
                      <a:pt x="84" y="481"/>
                      <a:pt x="89"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0">
                <a:extLst>
                  <a:ext uri="{FF2B5EF4-FFF2-40B4-BE49-F238E27FC236}">
                    <a16:creationId xmlns:a16="http://schemas.microsoft.com/office/drawing/2014/main" id="{B256C378-9F08-4628-902A-CD8AC93F0384}"/>
                  </a:ext>
                </a:extLst>
              </p:cNvPr>
              <p:cNvSpPr>
                <a:spLocks/>
              </p:cNvSpPr>
              <p:nvPr/>
            </p:nvSpPr>
            <p:spPr bwMode="auto">
              <a:xfrm>
                <a:off x="3894" y="576"/>
                <a:ext cx="719" cy="897"/>
              </a:xfrm>
              <a:custGeom>
                <a:avLst/>
                <a:gdLst>
                  <a:gd name="T0" fmla="*/ 4 w 612"/>
                  <a:gd name="T1" fmla="*/ 118 h 762"/>
                  <a:gd name="T2" fmla="*/ 8 w 612"/>
                  <a:gd name="T3" fmla="*/ 152 h 762"/>
                  <a:gd name="T4" fmla="*/ 15 w 612"/>
                  <a:gd name="T5" fmla="*/ 178 h 762"/>
                  <a:gd name="T6" fmla="*/ 18 w 612"/>
                  <a:gd name="T7" fmla="*/ 197 h 762"/>
                  <a:gd name="T8" fmla="*/ 35 w 612"/>
                  <a:gd name="T9" fmla="*/ 263 h 762"/>
                  <a:gd name="T10" fmla="*/ 48 w 612"/>
                  <a:gd name="T11" fmla="*/ 470 h 762"/>
                  <a:gd name="T12" fmla="*/ 31 w 612"/>
                  <a:gd name="T13" fmla="*/ 504 h 762"/>
                  <a:gd name="T14" fmla="*/ 38 w 612"/>
                  <a:gd name="T15" fmla="*/ 514 h 762"/>
                  <a:gd name="T16" fmla="*/ 52 w 612"/>
                  <a:gd name="T17" fmla="*/ 762 h 762"/>
                  <a:gd name="T18" fmla="*/ 503 w 612"/>
                  <a:gd name="T19" fmla="*/ 710 h 762"/>
                  <a:gd name="T20" fmla="*/ 436 w 612"/>
                  <a:gd name="T21" fmla="*/ 637 h 762"/>
                  <a:gd name="T22" fmla="*/ 385 w 612"/>
                  <a:gd name="T23" fmla="*/ 625 h 762"/>
                  <a:gd name="T24" fmla="*/ 365 w 612"/>
                  <a:gd name="T25" fmla="*/ 608 h 762"/>
                  <a:gd name="T26" fmla="*/ 380 w 612"/>
                  <a:gd name="T27" fmla="*/ 573 h 762"/>
                  <a:gd name="T28" fmla="*/ 375 w 612"/>
                  <a:gd name="T29" fmla="*/ 558 h 762"/>
                  <a:gd name="T30" fmla="*/ 368 w 612"/>
                  <a:gd name="T31" fmla="*/ 532 h 762"/>
                  <a:gd name="T32" fmla="*/ 364 w 612"/>
                  <a:gd name="T33" fmla="*/ 477 h 762"/>
                  <a:gd name="T34" fmla="*/ 366 w 612"/>
                  <a:gd name="T35" fmla="*/ 459 h 762"/>
                  <a:gd name="T36" fmla="*/ 372 w 612"/>
                  <a:gd name="T37" fmla="*/ 432 h 762"/>
                  <a:gd name="T38" fmla="*/ 416 w 612"/>
                  <a:gd name="T39" fmla="*/ 400 h 762"/>
                  <a:gd name="T40" fmla="*/ 429 w 612"/>
                  <a:gd name="T41" fmla="*/ 333 h 762"/>
                  <a:gd name="T42" fmla="*/ 450 w 612"/>
                  <a:gd name="T43" fmla="*/ 287 h 762"/>
                  <a:gd name="T44" fmla="*/ 478 w 612"/>
                  <a:gd name="T45" fmla="*/ 246 h 762"/>
                  <a:gd name="T46" fmla="*/ 551 w 612"/>
                  <a:gd name="T47" fmla="*/ 215 h 762"/>
                  <a:gd name="T48" fmla="*/ 611 w 612"/>
                  <a:gd name="T49" fmla="*/ 157 h 762"/>
                  <a:gd name="T50" fmla="*/ 602 w 612"/>
                  <a:gd name="T51" fmla="*/ 155 h 762"/>
                  <a:gd name="T52" fmla="*/ 581 w 612"/>
                  <a:gd name="T53" fmla="*/ 156 h 762"/>
                  <a:gd name="T54" fmla="*/ 562 w 612"/>
                  <a:gd name="T55" fmla="*/ 159 h 762"/>
                  <a:gd name="T56" fmla="*/ 529 w 612"/>
                  <a:gd name="T57" fmla="*/ 166 h 762"/>
                  <a:gd name="T58" fmla="*/ 333 w 612"/>
                  <a:gd name="T59" fmla="*/ 98 h 762"/>
                  <a:gd name="T60" fmla="*/ 318 w 612"/>
                  <a:gd name="T61" fmla="*/ 103 h 762"/>
                  <a:gd name="T62" fmla="*/ 289 w 612"/>
                  <a:gd name="T63" fmla="*/ 121 h 762"/>
                  <a:gd name="T64" fmla="*/ 255 w 612"/>
                  <a:gd name="T65" fmla="*/ 125 h 762"/>
                  <a:gd name="T66" fmla="*/ 220 w 612"/>
                  <a:gd name="T67" fmla="*/ 88 h 762"/>
                  <a:gd name="T68" fmla="*/ 228 w 612"/>
                  <a:gd name="T69" fmla="*/ 63 h 762"/>
                  <a:gd name="T70" fmla="*/ 212 w 612"/>
                  <a:gd name="T71" fmla="*/ 48 h 762"/>
                  <a:gd name="T72" fmla="*/ 211 w 612"/>
                  <a:gd name="T73" fmla="*/ 30 h 762"/>
                  <a:gd name="T74" fmla="*/ 193 w 612"/>
                  <a:gd name="T75" fmla="*/ 0 h 762"/>
                  <a:gd name="T76" fmla="*/ 192 w 612"/>
                  <a:gd name="T77" fmla="*/ 0 h 762"/>
                  <a:gd name="T78" fmla="*/ 150 w 612"/>
                  <a:gd name="T79" fmla="*/ 53 h 762"/>
                  <a:gd name="T80" fmla="*/ 84 w 612"/>
                  <a:gd name="T81" fmla="*/ 67 h 762"/>
                  <a:gd name="T82" fmla="*/ 60 w 612"/>
                  <a:gd name="T83" fmla="*/ 72 h 762"/>
                  <a:gd name="T84" fmla="*/ 0 w 612"/>
                  <a:gd name="T85" fmla="*/ 80 h 762"/>
                  <a:gd name="T86" fmla="*/ 3 w 612"/>
                  <a:gd name="T87" fmla="*/ 117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2" h="762">
                    <a:moveTo>
                      <a:pt x="3" y="117"/>
                    </a:moveTo>
                    <a:cubicBezTo>
                      <a:pt x="4" y="118"/>
                      <a:pt x="4" y="118"/>
                      <a:pt x="4" y="118"/>
                    </a:cubicBezTo>
                    <a:cubicBezTo>
                      <a:pt x="8" y="124"/>
                      <a:pt x="8" y="134"/>
                      <a:pt x="8" y="143"/>
                    </a:cubicBezTo>
                    <a:cubicBezTo>
                      <a:pt x="8" y="146"/>
                      <a:pt x="8" y="149"/>
                      <a:pt x="8" y="152"/>
                    </a:cubicBezTo>
                    <a:cubicBezTo>
                      <a:pt x="8" y="158"/>
                      <a:pt x="9" y="161"/>
                      <a:pt x="11" y="167"/>
                    </a:cubicBezTo>
                    <a:cubicBezTo>
                      <a:pt x="12" y="170"/>
                      <a:pt x="13" y="173"/>
                      <a:pt x="15" y="178"/>
                    </a:cubicBezTo>
                    <a:cubicBezTo>
                      <a:pt x="15" y="182"/>
                      <a:pt x="16" y="183"/>
                      <a:pt x="16" y="185"/>
                    </a:cubicBezTo>
                    <a:cubicBezTo>
                      <a:pt x="17" y="188"/>
                      <a:pt x="17" y="188"/>
                      <a:pt x="18" y="197"/>
                    </a:cubicBezTo>
                    <a:cubicBezTo>
                      <a:pt x="18" y="200"/>
                      <a:pt x="18" y="204"/>
                      <a:pt x="19" y="208"/>
                    </a:cubicBezTo>
                    <a:cubicBezTo>
                      <a:pt x="23" y="252"/>
                      <a:pt x="29" y="258"/>
                      <a:pt x="35" y="263"/>
                    </a:cubicBezTo>
                    <a:cubicBezTo>
                      <a:pt x="40" y="267"/>
                      <a:pt x="45" y="271"/>
                      <a:pt x="48" y="288"/>
                    </a:cubicBezTo>
                    <a:cubicBezTo>
                      <a:pt x="56" y="326"/>
                      <a:pt x="49" y="463"/>
                      <a:pt x="48" y="470"/>
                    </a:cubicBezTo>
                    <a:cubicBezTo>
                      <a:pt x="48" y="476"/>
                      <a:pt x="47" y="493"/>
                      <a:pt x="36" y="499"/>
                    </a:cubicBezTo>
                    <a:cubicBezTo>
                      <a:pt x="33" y="501"/>
                      <a:pt x="32" y="502"/>
                      <a:pt x="31" y="504"/>
                    </a:cubicBezTo>
                    <a:cubicBezTo>
                      <a:pt x="31" y="505"/>
                      <a:pt x="32" y="508"/>
                      <a:pt x="34" y="510"/>
                    </a:cubicBezTo>
                    <a:cubicBezTo>
                      <a:pt x="35" y="511"/>
                      <a:pt x="36" y="513"/>
                      <a:pt x="38" y="514"/>
                    </a:cubicBezTo>
                    <a:cubicBezTo>
                      <a:pt x="44" y="519"/>
                      <a:pt x="52" y="525"/>
                      <a:pt x="52" y="541"/>
                    </a:cubicBezTo>
                    <a:cubicBezTo>
                      <a:pt x="52" y="762"/>
                      <a:pt x="52" y="762"/>
                      <a:pt x="52" y="762"/>
                    </a:cubicBezTo>
                    <a:cubicBezTo>
                      <a:pt x="503" y="762"/>
                      <a:pt x="503" y="762"/>
                      <a:pt x="503" y="762"/>
                    </a:cubicBezTo>
                    <a:cubicBezTo>
                      <a:pt x="503" y="710"/>
                      <a:pt x="503" y="710"/>
                      <a:pt x="503" y="710"/>
                    </a:cubicBezTo>
                    <a:cubicBezTo>
                      <a:pt x="503" y="694"/>
                      <a:pt x="490" y="686"/>
                      <a:pt x="476" y="680"/>
                    </a:cubicBezTo>
                    <a:cubicBezTo>
                      <a:pt x="463" y="675"/>
                      <a:pt x="444" y="657"/>
                      <a:pt x="436" y="637"/>
                    </a:cubicBezTo>
                    <a:cubicBezTo>
                      <a:pt x="430" y="623"/>
                      <a:pt x="403" y="625"/>
                      <a:pt x="390" y="625"/>
                    </a:cubicBezTo>
                    <a:cubicBezTo>
                      <a:pt x="388" y="625"/>
                      <a:pt x="386" y="625"/>
                      <a:pt x="385" y="625"/>
                    </a:cubicBezTo>
                    <a:cubicBezTo>
                      <a:pt x="377" y="625"/>
                      <a:pt x="371" y="623"/>
                      <a:pt x="367" y="619"/>
                    </a:cubicBezTo>
                    <a:cubicBezTo>
                      <a:pt x="365" y="616"/>
                      <a:pt x="364" y="612"/>
                      <a:pt x="365" y="608"/>
                    </a:cubicBezTo>
                    <a:cubicBezTo>
                      <a:pt x="366" y="605"/>
                      <a:pt x="368" y="600"/>
                      <a:pt x="371" y="596"/>
                    </a:cubicBezTo>
                    <a:cubicBezTo>
                      <a:pt x="376" y="589"/>
                      <a:pt x="381" y="580"/>
                      <a:pt x="380" y="573"/>
                    </a:cubicBezTo>
                    <a:cubicBezTo>
                      <a:pt x="380" y="562"/>
                      <a:pt x="380" y="562"/>
                      <a:pt x="376" y="559"/>
                    </a:cubicBezTo>
                    <a:cubicBezTo>
                      <a:pt x="375" y="558"/>
                      <a:pt x="375" y="558"/>
                      <a:pt x="375" y="558"/>
                    </a:cubicBezTo>
                    <a:cubicBezTo>
                      <a:pt x="370" y="554"/>
                      <a:pt x="370" y="549"/>
                      <a:pt x="370" y="545"/>
                    </a:cubicBezTo>
                    <a:cubicBezTo>
                      <a:pt x="370" y="541"/>
                      <a:pt x="370" y="537"/>
                      <a:pt x="368" y="532"/>
                    </a:cubicBezTo>
                    <a:cubicBezTo>
                      <a:pt x="364" y="521"/>
                      <a:pt x="364" y="497"/>
                      <a:pt x="364" y="480"/>
                    </a:cubicBezTo>
                    <a:cubicBezTo>
                      <a:pt x="364" y="477"/>
                      <a:pt x="364" y="477"/>
                      <a:pt x="364" y="477"/>
                    </a:cubicBezTo>
                    <a:cubicBezTo>
                      <a:pt x="364" y="470"/>
                      <a:pt x="371" y="466"/>
                      <a:pt x="375" y="464"/>
                    </a:cubicBezTo>
                    <a:cubicBezTo>
                      <a:pt x="373" y="462"/>
                      <a:pt x="368" y="459"/>
                      <a:pt x="366" y="459"/>
                    </a:cubicBezTo>
                    <a:cubicBezTo>
                      <a:pt x="366" y="459"/>
                      <a:pt x="345" y="453"/>
                      <a:pt x="345" y="443"/>
                    </a:cubicBezTo>
                    <a:cubicBezTo>
                      <a:pt x="345" y="433"/>
                      <a:pt x="371" y="432"/>
                      <a:pt x="372" y="432"/>
                    </a:cubicBezTo>
                    <a:cubicBezTo>
                      <a:pt x="374" y="432"/>
                      <a:pt x="384" y="423"/>
                      <a:pt x="391" y="417"/>
                    </a:cubicBezTo>
                    <a:cubicBezTo>
                      <a:pt x="403" y="407"/>
                      <a:pt x="411" y="401"/>
                      <a:pt x="416" y="400"/>
                    </a:cubicBezTo>
                    <a:cubicBezTo>
                      <a:pt x="418" y="398"/>
                      <a:pt x="421" y="381"/>
                      <a:pt x="421" y="354"/>
                    </a:cubicBezTo>
                    <a:cubicBezTo>
                      <a:pt x="421" y="346"/>
                      <a:pt x="426" y="336"/>
                      <a:pt x="429" y="333"/>
                    </a:cubicBezTo>
                    <a:cubicBezTo>
                      <a:pt x="428" y="329"/>
                      <a:pt x="431" y="324"/>
                      <a:pt x="438" y="318"/>
                    </a:cubicBezTo>
                    <a:cubicBezTo>
                      <a:pt x="446" y="310"/>
                      <a:pt x="448" y="300"/>
                      <a:pt x="450" y="287"/>
                    </a:cubicBezTo>
                    <a:cubicBezTo>
                      <a:pt x="452" y="275"/>
                      <a:pt x="461" y="265"/>
                      <a:pt x="473" y="252"/>
                    </a:cubicBezTo>
                    <a:cubicBezTo>
                      <a:pt x="474" y="250"/>
                      <a:pt x="476" y="248"/>
                      <a:pt x="478" y="246"/>
                    </a:cubicBezTo>
                    <a:cubicBezTo>
                      <a:pt x="488" y="235"/>
                      <a:pt x="505" y="230"/>
                      <a:pt x="523" y="225"/>
                    </a:cubicBezTo>
                    <a:cubicBezTo>
                      <a:pt x="533" y="222"/>
                      <a:pt x="543" y="219"/>
                      <a:pt x="551" y="215"/>
                    </a:cubicBezTo>
                    <a:cubicBezTo>
                      <a:pt x="572" y="206"/>
                      <a:pt x="596" y="176"/>
                      <a:pt x="607" y="162"/>
                    </a:cubicBezTo>
                    <a:cubicBezTo>
                      <a:pt x="609" y="160"/>
                      <a:pt x="610" y="158"/>
                      <a:pt x="611" y="157"/>
                    </a:cubicBezTo>
                    <a:cubicBezTo>
                      <a:pt x="612" y="157"/>
                      <a:pt x="612" y="156"/>
                      <a:pt x="612" y="156"/>
                    </a:cubicBezTo>
                    <a:cubicBezTo>
                      <a:pt x="611" y="156"/>
                      <a:pt x="608" y="155"/>
                      <a:pt x="602" y="155"/>
                    </a:cubicBezTo>
                    <a:cubicBezTo>
                      <a:pt x="597" y="155"/>
                      <a:pt x="592" y="155"/>
                      <a:pt x="588" y="156"/>
                    </a:cubicBezTo>
                    <a:cubicBezTo>
                      <a:pt x="585" y="156"/>
                      <a:pt x="583" y="156"/>
                      <a:pt x="581" y="156"/>
                    </a:cubicBezTo>
                    <a:cubicBezTo>
                      <a:pt x="570" y="156"/>
                      <a:pt x="568" y="157"/>
                      <a:pt x="564" y="158"/>
                    </a:cubicBezTo>
                    <a:cubicBezTo>
                      <a:pt x="563" y="159"/>
                      <a:pt x="563" y="159"/>
                      <a:pt x="562" y="159"/>
                    </a:cubicBezTo>
                    <a:cubicBezTo>
                      <a:pt x="557" y="162"/>
                      <a:pt x="550" y="166"/>
                      <a:pt x="531" y="166"/>
                    </a:cubicBezTo>
                    <a:cubicBezTo>
                      <a:pt x="529" y="166"/>
                      <a:pt x="529" y="166"/>
                      <a:pt x="529" y="166"/>
                    </a:cubicBezTo>
                    <a:cubicBezTo>
                      <a:pt x="505" y="166"/>
                      <a:pt x="468" y="161"/>
                      <a:pt x="443" y="156"/>
                    </a:cubicBezTo>
                    <a:cubicBezTo>
                      <a:pt x="415" y="151"/>
                      <a:pt x="338" y="103"/>
                      <a:pt x="333" y="98"/>
                    </a:cubicBezTo>
                    <a:cubicBezTo>
                      <a:pt x="332" y="97"/>
                      <a:pt x="332" y="97"/>
                      <a:pt x="331" y="97"/>
                    </a:cubicBezTo>
                    <a:cubicBezTo>
                      <a:pt x="328" y="97"/>
                      <a:pt x="323" y="99"/>
                      <a:pt x="318" y="103"/>
                    </a:cubicBezTo>
                    <a:cubicBezTo>
                      <a:pt x="314" y="106"/>
                      <a:pt x="307" y="110"/>
                      <a:pt x="300" y="115"/>
                    </a:cubicBezTo>
                    <a:cubicBezTo>
                      <a:pt x="296" y="117"/>
                      <a:pt x="292" y="119"/>
                      <a:pt x="289" y="121"/>
                    </a:cubicBezTo>
                    <a:cubicBezTo>
                      <a:pt x="283" y="125"/>
                      <a:pt x="277" y="127"/>
                      <a:pt x="270" y="127"/>
                    </a:cubicBezTo>
                    <a:cubicBezTo>
                      <a:pt x="266" y="127"/>
                      <a:pt x="261" y="126"/>
                      <a:pt x="255" y="125"/>
                    </a:cubicBezTo>
                    <a:cubicBezTo>
                      <a:pt x="254" y="125"/>
                      <a:pt x="254" y="125"/>
                      <a:pt x="254" y="125"/>
                    </a:cubicBezTo>
                    <a:cubicBezTo>
                      <a:pt x="236" y="122"/>
                      <a:pt x="220" y="89"/>
                      <a:pt x="220" y="88"/>
                    </a:cubicBezTo>
                    <a:cubicBezTo>
                      <a:pt x="216" y="81"/>
                      <a:pt x="219" y="71"/>
                      <a:pt x="228" y="63"/>
                    </a:cubicBezTo>
                    <a:cubicBezTo>
                      <a:pt x="228" y="63"/>
                      <a:pt x="228" y="63"/>
                      <a:pt x="228" y="63"/>
                    </a:cubicBezTo>
                    <a:cubicBezTo>
                      <a:pt x="228" y="60"/>
                      <a:pt x="221" y="53"/>
                      <a:pt x="213" y="49"/>
                    </a:cubicBezTo>
                    <a:cubicBezTo>
                      <a:pt x="212" y="48"/>
                      <a:pt x="212" y="48"/>
                      <a:pt x="212" y="48"/>
                    </a:cubicBezTo>
                    <a:cubicBezTo>
                      <a:pt x="208" y="46"/>
                      <a:pt x="205" y="44"/>
                      <a:pt x="205" y="40"/>
                    </a:cubicBezTo>
                    <a:cubicBezTo>
                      <a:pt x="204" y="36"/>
                      <a:pt x="207" y="34"/>
                      <a:pt x="211" y="30"/>
                    </a:cubicBezTo>
                    <a:cubicBezTo>
                      <a:pt x="218" y="25"/>
                      <a:pt x="222" y="18"/>
                      <a:pt x="222" y="16"/>
                    </a:cubicBezTo>
                    <a:cubicBezTo>
                      <a:pt x="214" y="3"/>
                      <a:pt x="208" y="2"/>
                      <a:pt x="193" y="0"/>
                    </a:cubicBezTo>
                    <a:cubicBezTo>
                      <a:pt x="192" y="0"/>
                      <a:pt x="192" y="0"/>
                      <a:pt x="192" y="0"/>
                    </a:cubicBezTo>
                    <a:cubicBezTo>
                      <a:pt x="192" y="0"/>
                      <a:pt x="192" y="0"/>
                      <a:pt x="192" y="0"/>
                    </a:cubicBezTo>
                    <a:cubicBezTo>
                      <a:pt x="181" y="0"/>
                      <a:pt x="164" y="30"/>
                      <a:pt x="157" y="42"/>
                    </a:cubicBezTo>
                    <a:cubicBezTo>
                      <a:pt x="153" y="49"/>
                      <a:pt x="152" y="52"/>
                      <a:pt x="150" y="53"/>
                    </a:cubicBezTo>
                    <a:cubicBezTo>
                      <a:pt x="145" y="59"/>
                      <a:pt x="133" y="63"/>
                      <a:pt x="117" y="64"/>
                    </a:cubicBezTo>
                    <a:cubicBezTo>
                      <a:pt x="104" y="64"/>
                      <a:pt x="96" y="65"/>
                      <a:pt x="84" y="67"/>
                    </a:cubicBezTo>
                    <a:cubicBezTo>
                      <a:pt x="81" y="68"/>
                      <a:pt x="78" y="68"/>
                      <a:pt x="75" y="69"/>
                    </a:cubicBezTo>
                    <a:cubicBezTo>
                      <a:pt x="70" y="70"/>
                      <a:pt x="66" y="70"/>
                      <a:pt x="60" y="72"/>
                    </a:cubicBezTo>
                    <a:cubicBezTo>
                      <a:pt x="47" y="74"/>
                      <a:pt x="30" y="78"/>
                      <a:pt x="3" y="80"/>
                    </a:cubicBezTo>
                    <a:cubicBezTo>
                      <a:pt x="2" y="80"/>
                      <a:pt x="1" y="80"/>
                      <a:pt x="0" y="80"/>
                    </a:cubicBezTo>
                    <a:cubicBezTo>
                      <a:pt x="0" y="86"/>
                      <a:pt x="0" y="97"/>
                      <a:pt x="0" y="104"/>
                    </a:cubicBezTo>
                    <a:cubicBezTo>
                      <a:pt x="0" y="112"/>
                      <a:pt x="0" y="112"/>
                      <a:pt x="3" y="1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71">
                <a:extLst>
                  <a:ext uri="{FF2B5EF4-FFF2-40B4-BE49-F238E27FC236}">
                    <a16:creationId xmlns:a16="http://schemas.microsoft.com/office/drawing/2014/main" id="{9C174BA2-4D07-4706-92DD-8683C9445FAF}"/>
                  </a:ext>
                </a:extLst>
              </p:cNvPr>
              <p:cNvSpPr>
                <a:spLocks/>
              </p:cNvSpPr>
              <p:nvPr/>
            </p:nvSpPr>
            <p:spPr bwMode="auto">
              <a:xfrm>
                <a:off x="3227" y="670"/>
                <a:ext cx="723" cy="454"/>
              </a:xfrm>
              <a:custGeom>
                <a:avLst/>
                <a:gdLst>
                  <a:gd name="T0" fmla="*/ 607 w 615"/>
                  <a:gd name="T1" fmla="*/ 209 h 386"/>
                  <a:gd name="T2" fmla="*/ 597 w 615"/>
                  <a:gd name="T3" fmla="*/ 189 h 386"/>
                  <a:gd name="T4" fmla="*/ 578 w 615"/>
                  <a:gd name="T5" fmla="*/ 129 h 386"/>
                  <a:gd name="T6" fmla="*/ 577 w 615"/>
                  <a:gd name="T7" fmla="*/ 118 h 386"/>
                  <a:gd name="T8" fmla="*/ 576 w 615"/>
                  <a:gd name="T9" fmla="*/ 107 h 386"/>
                  <a:gd name="T10" fmla="*/ 574 w 615"/>
                  <a:gd name="T11" fmla="*/ 100 h 386"/>
                  <a:gd name="T12" fmla="*/ 570 w 615"/>
                  <a:gd name="T13" fmla="*/ 89 h 386"/>
                  <a:gd name="T14" fmla="*/ 567 w 615"/>
                  <a:gd name="T15" fmla="*/ 73 h 386"/>
                  <a:gd name="T16" fmla="*/ 567 w 615"/>
                  <a:gd name="T17" fmla="*/ 63 h 386"/>
                  <a:gd name="T18" fmla="*/ 564 w 615"/>
                  <a:gd name="T19" fmla="*/ 43 h 386"/>
                  <a:gd name="T20" fmla="*/ 563 w 615"/>
                  <a:gd name="T21" fmla="*/ 42 h 386"/>
                  <a:gd name="T22" fmla="*/ 559 w 615"/>
                  <a:gd name="T23" fmla="*/ 24 h 386"/>
                  <a:gd name="T24" fmla="*/ 559 w 615"/>
                  <a:gd name="T25" fmla="*/ 0 h 386"/>
                  <a:gd name="T26" fmla="*/ 403 w 615"/>
                  <a:gd name="T27" fmla="*/ 1 h 386"/>
                  <a:gd name="T28" fmla="*/ 251 w 615"/>
                  <a:gd name="T29" fmla="*/ 1 h 386"/>
                  <a:gd name="T30" fmla="*/ 109 w 615"/>
                  <a:gd name="T31" fmla="*/ 1 h 386"/>
                  <a:gd name="T32" fmla="*/ 0 w 615"/>
                  <a:gd name="T33" fmla="*/ 1 h 386"/>
                  <a:gd name="T34" fmla="*/ 0 w 615"/>
                  <a:gd name="T35" fmla="*/ 65 h 386"/>
                  <a:gd name="T36" fmla="*/ 0 w 615"/>
                  <a:gd name="T37" fmla="*/ 386 h 386"/>
                  <a:gd name="T38" fmla="*/ 607 w 615"/>
                  <a:gd name="T39" fmla="*/ 386 h 386"/>
                  <a:gd name="T40" fmla="*/ 607 w 615"/>
                  <a:gd name="T41" fmla="*/ 20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5" h="386">
                    <a:moveTo>
                      <a:pt x="607" y="209"/>
                    </a:moveTo>
                    <a:cubicBezTo>
                      <a:pt x="604" y="195"/>
                      <a:pt x="601" y="192"/>
                      <a:pt x="597" y="189"/>
                    </a:cubicBezTo>
                    <a:cubicBezTo>
                      <a:pt x="590" y="183"/>
                      <a:pt x="582" y="176"/>
                      <a:pt x="578" y="129"/>
                    </a:cubicBezTo>
                    <a:cubicBezTo>
                      <a:pt x="577" y="124"/>
                      <a:pt x="577" y="121"/>
                      <a:pt x="577" y="118"/>
                    </a:cubicBezTo>
                    <a:cubicBezTo>
                      <a:pt x="577" y="110"/>
                      <a:pt x="577" y="110"/>
                      <a:pt x="576" y="107"/>
                    </a:cubicBezTo>
                    <a:cubicBezTo>
                      <a:pt x="575" y="106"/>
                      <a:pt x="575" y="104"/>
                      <a:pt x="574" y="100"/>
                    </a:cubicBezTo>
                    <a:cubicBezTo>
                      <a:pt x="573" y="96"/>
                      <a:pt x="571" y="92"/>
                      <a:pt x="570" y="89"/>
                    </a:cubicBezTo>
                    <a:cubicBezTo>
                      <a:pt x="569" y="84"/>
                      <a:pt x="567" y="80"/>
                      <a:pt x="567" y="73"/>
                    </a:cubicBezTo>
                    <a:cubicBezTo>
                      <a:pt x="567" y="70"/>
                      <a:pt x="567" y="67"/>
                      <a:pt x="567" y="63"/>
                    </a:cubicBezTo>
                    <a:cubicBezTo>
                      <a:pt x="567" y="56"/>
                      <a:pt x="567" y="47"/>
                      <a:pt x="564" y="43"/>
                    </a:cubicBezTo>
                    <a:cubicBezTo>
                      <a:pt x="563" y="42"/>
                      <a:pt x="563" y="42"/>
                      <a:pt x="563" y="42"/>
                    </a:cubicBezTo>
                    <a:cubicBezTo>
                      <a:pt x="559" y="35"/>
                      <a:pt x="559" y="34"/>
                      <a:pt x="559" y="24"/>
                    </a:cubicBezTo>
                    <a:cubicBezTo>
                      <a:pt x="559" y="17"/>
                      <a:pt x="559" y="6"/>
                      <a:pt x="559" y="0"/>
                    </a:cubicBezTo>
                    <a:cubicBezTo>
                      <a:pt x="536" y="1"/>
                      <a:pt x="487" y="1"/>
                      <a:pt x="403" y="1"/>
                    </a:cubicBezTo>
                    <a:cubicBezTo>
                      <a:pt x="355" y="1"/>
                      <a:pt x="303" y="1"/>
                      <a:pt x="251" y="1"/>
                    </a:cubicBezTo>
                    <a:cubicBezTo>
                      <a:pt x="201" y="1"/>
                      <a:pt x="152" y="1"/>
                      <a:pt x="109" y="1"/>
                    </a:cubicBezTo>
                    <a:cubicBezTo>
                      <a:pt x="57" y="1"/>
                      <a:pt x="22" y="1"/>
                      <a:pt x="0" y="1"/>
                    </a:cubicBezTo>
                    <a:cubicBezTo>
                      <a:pt x="0" y="65"/>
                      <a:pt x="0" y="65"/>
                      <a:pt x="0" y="65"/>
                    </a:cubicBezTo>
                    <a:cubicBezTo>
                      <a:pt x="0" y="386"/>
                      <a:pt x="0" y="386"/>
                      <a:pt x="0" y="386"/>
                    </a:cubicBezTo>
                    <a:cubicBezTo>
                      <a:pt x="607" y="386"/>
                      <a:pt x="607" y="386"/>
                      <a:pt x="607" y="386"/>
                    </a:cubicBezTo>
                    <a:cubicBezTo>
                      <a:pt x="609" y="363"/>
                      <a:pt x="615" y="243"/>
                      <a:pt x="607"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72">
                <a:extLst>
                  <a:ext uri="{FF2B5EF4-FFF2-40B4-BE49-F238E27FC236}">
                    <a16:creationId xmlns:a16="http://schemas.microsoft.com/office/drawing/2014/main" id="{7E015FA8-2F94-4A17-B876-84604D5E39D3}"/>
                  </a:ext>
                </a:extLst>
              </p:cNvPr>
              <p:cNvSpPr>
                <a:spLocks/>
              </p:cNvSpPr>
              <p:nvPr/>
            </p:nvSpPr>
            <p:spPr bwMode="auto">
              <a:xfrm>
                <a:off x="4498" y="1579"/>
                <a:ext cx="453" cy="750"/>
              </a:xfrm>
              <a:custGeom>
                <a:avLst/>
                <a:gdLst>
                  <a:gd name="T0" fmla="*/ 231 w 385"/>
                  <a:gd name="T1" fmla="*/ 5 h 638"/>
                  <a:gd name="T2" fmla="*/ 227 w 385"/>
                  <a:gd name="T3" fmla="*/ 10 h 638"/>
                  <a:gd name="T4" fmla="*/ 135 w 385"/>
                  <a:gd name="T5" fmla="*/ 15 h 638"/>
                  <a:gd name="T6" fmla="*/ 60 w 385"/>
                  <a:gd name="T7" fmla="*/ 18 h 638"/>
                  <a:gd name="T8" fmla="*/ 72 w 385"/>
                  <a:gd name="T9" fmla="*/ 108 h 638"/>
                  <a:gd name="T10" fmla="*/ 63 w 385"/>
                  <a:gd name="T11" fmla="*/ 118 h 638"/>
                  <a:gd name="T12" fmla="*/ 29 w 385"/>
                  <a:gd name="T13" fmla="*/ 136 h 638"/>
                  <a:gd name="T14" fmla="*/ 22 w 385"/>
                  <a:gd name="T15" fmla="*/ 136 h 638"/>
                  <a:gd name="T16" fmla="*/ 21 w 385"/>
                  <a:gd name="T17" fmla="*/ 168 h 638"/>
                  <a:gd name="T18" fmla="*/ 33 w 385"/>
                  <a:gd name="T19" fmla="*/ 260 h 638"/>
                  <a:gd name="T20" fmla="*/ 0 w 385"/>
                  <a:gd name="T21" fmla="*/ 284 h 638"/>
                  <a:gd name="T22" fmla="*/ 20 w 385"/>
                  <a:gd name="T23" fmla="*/ 299 h 638"/>
                  <a:gd name="T24" fmla="*/ 18 w 385"/>
                  <a:gd name="T25" fmla="*/ 332 h 638"/>
                  <a:gd name="T26" fmla="*/ 37 w 385"/>
                  <a:gd name="T27" fmla="*/ 388 h 638"/>
                  <a:gd name="T28" fmla="*/ 87 w 385"/>
                  <a:gd name="T29" fmla="*/ 437 h 638"/>
                  <a:gd name="T30" fmla="*/ 126 w 385"/>
                  <a:gd name="T31" fmla="*/ 457 h 638"/>
                  <a:gd name="T32" fmla="*/ 145 w 385"/>
                  <a:gd name="T33" fmla="*/ 494 h 638"/>
                  <a:gd name="T34" fmla="*/ 168 w 385"/>
                  <a:gd name="T35" fmla="*/ 493 h 638"/>
                  <a:gd name="T36" fmla="*/ 163 w 385"/>
                  <a:gd name="T37" fmla="*/ 528 h 638"/>
                  <a:gd name="T38" fmla="*/ 238 w 385"/>
                  <a:gd name="T39" fmla="*/ 635 h 638"/>
                  <a:gd name="T40" fmla="*/ 264 w 385"/>
                  <a:gd name="T41" fmla="*/ 638 h 638"/>
                  <a:gd name="T42" fmla="*/ 267 w 385"/>
                  <a:gd name="T43" fmla="*/ 634 h 638"/>
                  <a:gd name="T44" fmla="*/ 291 w 385"/>
                  <a:gd name="T45" fmla="*/ 627 h 638"/>
                  <a:gd name="T46" fmla="*/ 308 w 385"/>
                  <a:gd name="T47" fmla="*/ 635 h 638"/>
                  <a:gd name="T48" fmla="*/ 310 w 385"/>
                  <a:gd name="T49" fmla="*/ 623 h 638"/>
                  <a:gd name="T50" fmla="*/ 326 w 385"/>
                  <a:gd name="T51" fmla="*/ 606 h 638"/>
                  <a:gd name="T52" fmla="*/ 336 w 385"/>
                  <a:gd name="T53" fmla="*/ 572 h 638"/>
                  <a:gd name="T54" fmla="*/ 344 w 385"/>
                  <a:gd name="T55" fmla="*/ 551 h 638"/>
                  <a:gd name="T56" fmla="*/ 364 w 385"/>
                  <a:gd name="T57" fmla="*/ 522 h 638"/>
                  <a:gd name="T58" fmla="*/ 373 w 385"/>
                  <a:gd name="T59" fmla="*/ 491 h 638"/>
                  <a:gd name="T60" fmla="*/ 383 w 385"/>
                  <a:gd name="T61" fmla="*/ 365 h 638"/>
                  <a:gd name="T62" fmla="*/ 359 w 385"/>
                  <a:gd name="T63" fmla="*/ 136 h 638"/>
                  <a:gd name="T64" fmla="*/ 336 w 385"/>
                  <a:gd name="T65" fmla="*/ 38 h 638"/>
                  <a:gd name="T66" fmla="*/ 323 w 385"/>
                  <a:gd name="T67" fmla="*/ 0 h 638"/>
                  <a:gd name="T68" fmla="*/ 232 w 385"/>
                  <a:gd name="T69" fmla="*/ 2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5" h="638">
                    <a:moveTo>
                      <a:pt x="232" y="2"/>
                    </a:moveTo>
                    <a:cubicBezTo>
                      <a:pt x="231" y="3"/>
                      <a:pt x="231" y="5"/>
                      <a:pt x="231" y="5"/>
                    </a:cubicBezTo>
                    <a:cubicBezTo>
                      <a:pt x="231" y="6"/>
                      <a:pt x="230" y="7"/>
                      <a:pt x="230" y="8"/>
                    </a:cubicBezTo>
                    <a:cubicBezTo>
                      <a:pt x="229" y="9"/>
                      <a:pt x="228" y="10"/>
                      <a:pt x="227" y="10"/>
                    </a:cubicBezTo>
                    <a:cubicBezTo>
                      <a:pt x="144" y="10"/>
                      <a:pt x="144" y="10"/>
                      <a:pt x="144" y="10"/>
                    </a:cubicBezTo>
                    <a:cubicBezTo>
                      <a:pt x="137" y="10"/>
                      <a:pt x="135" y="14"/>
                      <a:pt x="135" y="15"/>
                    </a:cubicBezTo>
                    <a:cubicBezTo>
                      <a:pt x="135" y="16"/>
                      <a:pt x="133" y="18"/>
                      <a:pt x="131" y="18"/>
                    </a:cubicBezTo>
                    <a:cubicBezTo>
                      <a:pt x="60" y="18"/>
                      <a:pt x="60" y="18"/>
                      <a:pt x="60" y="18"/>
                    </a:cubicBezTo>
                    <a:cubicBezTo>
                      <a:pt x="77" y="33"/>
                      <a:pt x="101" y="60"/>
                      <a:pt x="91" y="83"/>
                    </a:cubicBezTo>
                    <a:cubicBezTo>
                      <a:pt x="83" y="101"/>
                      <a:pt x="77" y="105"/>
                      <a:pt x="72" y="108"/>
                    </a:cubicBezTo>
                    <a:cubicBezTo>
                      <a:pt x="70" y="109"/>
                      <a:pt x="69" y="110"/>
                      <a:pt x="68" y="112"/>
                    </a:cubicBezTo>
                    <a:cubicBezTo>
                      <a:pt x="66" y="114"/>
                      <a:pt x="65" y="116"/>
                      <a:pt x="63" y="118"/>
                    </a:cubicBezTo>
                    <a:cubicBezTo>
                      <a:pt x="60" y="122"/>
                      <a:pt x="56" y="127"/>
                      <a:pt x="55" y="129"/>
                    </a:cubicBezTo>
                    <a:cubicBezTo>
                      <a:pt x="53" y="135"/>
                      <a:pt x="40" y="136"/>
                      <a:pt x="29" y="136"/>
                    </a:cubicBezTo>
                    <a:cubicBezTo>
                      <a:pt x="28" y="136"/>
                      <a:pt x="28" y="136"/>
                      <a:pt x="27" y="136"/>
                    </a:cubicBezTo>
                    <a:cubicBezTo>
                      <a:pt x="25" y="136"/>
                      <a:pt x="22" y="136"/>
                      <a:pt x="22" y="136"/>
                    </a:cubicBezTo>
                    <a:cubicBezTo>
                      <a:pt x="21" y="137"/>
                      <a:pt x="21" y="137"/>
                      <a:pt x="21" y="139"/>
                    </a:cubicBezTo>
                    <a:cubicBezTo>
                      <a:pt x="21" y="168"/>
                      <a:pt x="21" y="168"/>
                      <a:pt x="21" y="168"/>
                    </a:cubicBezTo>
                    <a:cubicBezTo>
                      <a:pt x="28" y="172"/>
                      <a:pt x="47" y="186"/>
                      <a:pt x="45" y="209"/>
                    </a:cubicBezTo>
                    <a:cubicBezTo>
                      <a:pt x="44" y="232"/>
                      <a:pt x="39" y="250"/>
                      <a:pt x="33" y="260"/>
                    </a:cubicBezTo>
                    <a:cubicBezTo>
                      <a:pt x="27" y="269"/>
                      <a:pt x="18" y="275"/>
                      <a:pt x="10" y="275"/>
                    </a:cubicBezTo>
                    <a:cubicBezTo>
                      <a:pt x="6" y="275"/>
                      <a:pt x="1" y="279"/>
                      <a:pt x="0" y="284"/>
                    </a:cubicBezTo>
                    <a:cubicBezTo>
                      <a:pt x="1" y="285"/>
                      <a:pt x="6" y="288"/>
                      <a:pt x="8" y="289"/>
                    </a:cubicBezTo>
                    <a:cubicBezTo>
                      <a:pt x="14" y="292"/>
                      <a:pt x="19" y="295"/>
                      <a:pt x="20" y="299"/>
                    </a:cubicBezTo>
                    <a:cubicBezTo>
                      <a:pt x="20" y="302"/>
                      <a:pt x="20" y="308"/>
                      <a:pt x="19" y="315"/>
                    </a:cubicBezTo>
                    <a:cubicBezTo>
                      <a:pt x="19" y="320"/>
                      <a:pt x="18" y="326"/>
                      <a:pt x="18" y="332"/>
                    </a:cubicBezTo>
                    <a:cubicBezTo>
                      <a:pt x="18" y="334"/>
                      <a:pt x="18" y="337"/>
                      <a:pt x="17" y="339"/>
                    </a:cubicBezTo>
                    <a:cubicBezTo>
                      <a:pt x="19" y="347"/>
                      <a:pt x="26" y="378"/>
                      <a:pt x="37" y="388"/>
                    </a:cubicBezTo>
                    <a:cubicBezTo>
                      <a:pt x="41" y="392"/>
                      <a:pt x="45" y="397"/>
                      <a:pt x="50" y="402"/>
                    </a:cubicBezTo>
                    <a:cubicBezTo>
                      <a:pt x="62" y="415"/>
                      <a:pt x="79" y="433"/>
                      <a:pt x="87" y="437"/>
                    </a:cubicBezTo>
                    <a:cubicBezTo>
                      <a:pt x="91" y="438"/>
                      <a:pt x="95" y="440"/>
                      <a:pt x="99" y="441"/>
                    </a:cubicBezTo>
                    <a:cubicBezTo>
                      <a:pt x="110" y="444"/>
                      <a:pt x="121" y="447"/>
                      <a:pt x="126" y="457"/>
                    </a:cubicBezTo>
                    <a:cubicBezTo>
                      <a:pt x="127" y="459"/>
                      <a:pt x="128" y="462"/>
                      <a:pt x="130" y="466"/>
                    </a:cubicBezTo>
                    <a:cubicBezTo>
                      <a:pt x="133" y="474"/>
                      <a:pt x="141" y="492"/>
                      <a:pt x="145" y="494"/>
                    </a:cubicBezTo>
                    <a:cubicBezTo>
                      <a:pt x="146" y="493"/>
                      <a:pt x="148" y="493"/>
                      <a:pt x="149" y="492"/>
                    </a:cubicBezTo>
                    <a:cubicBezTo>
                      <a:pt x="156" y="491"/>
                      <a:pt x="163" y="488"/>
                      <a:pt x="168" y="493"/>
                    </a:cubicBezTo>
                    <a:cubicBezTo>
                      <a:pt x="172" y="497"/>
                      <a:pt x="171" y="505"/>
                      <a:pt x="169" y="510"/>
                    </a:cubicBezTo>
                    <a:cubicBezTo>
                      <a:pt x="167" y="517"/>
                      <a:pt x="165" y="523"/>
                      <a:pt x="163" y="528"/>
                    </a:cubicBezTo>
                    <a:cubicBezTo>
                      <a:pt x="159" y="540"/>
                      <a:pt x="156" y="547"/>
                      <a:pt x="157" y="553"/>
                    </a:cubicBezTo>
                    <a:cubicBezTo>
                      <a:pt x="160" y="562"/>
                      <a:pt x="230" y="629"/>
                      <a:pt x="238" y="635"/>
                    </a:cubicBezTo>
                    <a:cubicBezTo>
                      <a:pt x="238" y="635"/>
                      <a:pt x="239" y="636"/>
                      <a:pt x="239" y="636"/>
                    </a:cubicBezTo>
                    <a:cubicBezTo>
                      <a:pt x="244" y="637"/>
                      <a:pt x="257" y="637"/>
                      <a:pt x="264" y="638"/>
                    </a:cubicBezTo>
                    <a:cubicBezTo>
                      <a:pt x="266" y="638"/>
                      <a:pt x="266" y="638"/>
                      <a:pt x="266" y="638"/>
                    </a:cubicBezTo>
                    <a:cubicBezTo>
                      <a:pt x="266" y="637"/>
                      <a:pt x="266" y="635"/>
                      <a:pt x="267" y="634"/>
                    </a:cubicBezTo>
                    <a:cubicBezTo>
                      <a:pt x="267" y="631"/>
                      <a:pt x="268" y="627"/>
                      <a:pt x="271" y="623"/>
                    </a:cubicBezTo>
                    <a:cubicBezTo>
                      <a:pt x="277" y="617"/>
                      <a:pt x="284" y="623"/>
                      <a:pt x="291" y="627"/>
                    </a:cubicBezTo>
                    <a:cubicBezTo>
                      <a:pt x="295" y="630"/>
                      <a:pt x="300" y="634"/>
                      <a:pt x="305" y="635"/>
                    </a:cubicBezTo>
                    <a:cubicBezTo>
                      <a:pt x="306" y="635"/>
                      <a:pt x="307" y="635"/>
                      <a:pt x="308" y="635"/>
                    </a:cubicBezTo>
                    <a:cubicBezTo>
                      <a:pt x="308" y="635"/>
                      <a:pt x="308" y="635"/>
                      <a:pt x="308" y="635"/>
                    </a:cubicBezTo>
                    <a:cubicBezTo>
                      <a:pt x="308" y="632"/>
                      <a:pt x="308" y="628"/>
                      <a:pt x="310" y="623"/>
                    </a:cubicBezTo>
                    <a:cubicBezTo>
                      <a:pt x="310" y="621"/>
                      <a:pt x="311" y="620"/>
                      <a:pt x="312" y="619"/>
                    </a:cubicBezTo>
                    <a:cubicBezTo>
                      <a:pt x="315" y="611"/>
                      <a:pt x="316" y="607"/>
                      <a:pt x="326" y="606"/>
                    </a:cubicBezTo>
                    <a:cubicBezTo>
                      <a:pt x="327" y="605"/>
                      <a:pt x="331" y="601"/>
                      <a:pt x="335" y="576"/>
                    </a:cubicBezTo>
                    <a:cubicBezTo>
                      <a:pt x="336" y="574"/>
                      <a:pt x="336" y="573"/>
                      <a:pt x="336" y="572"/>
                    </a:cubicBezTo>
                    <a:cubicBezTo>
                      <a:pt x="337" y="570"/>
                      <a:pt x="338" y="567"/>
                      <a:pt x="339" y="563"/>
                    </a:cubicBezTo>
                    <a:cubicBezTo>
                      <a:pt x="341" y="560"/>
                      <a:pt x="344" y="553"/>
                      <a:pt x="344" y="551"/>
                    </a:cubicBezTo>
                    <a:cubicBezTo>
                      <a:pt x="344" y="547"/>
                      <a:pt x="347" y="544"/>
                      <a:pt x="353" y="537"/>
                    </a:cubicBezTo>
                    <a:cubicBezTo>
                      <a:pt x="357" y="532"/>
                      <a:pt x="363" y="526"/>
                      <a:pt x="364" y="522"/>
                    </a:cubicBezTo>
                    <a:cubicBezTo>
                      <a:pt x="364" y="520"/>
                      <a:pt x="364" y="519"/>
                      <a:pt x="363" y="516"/>
                    </a:cubicBezTo>
                    <a:cubicBezTo>
                      <a:pt x="361" y="509"/>
                      <a:pt x="361" y="503"/>
                      <a:pt x="373" y="491"/>
                    </a:cubicBezTo>
                    <a:cubicBezTo>
                      <a:pt x="385" y="480"/>
                      <a:pt x="384" y="421"/>
                      <a:pt x="383" y="390"/>
                    </a:cubicBezTo>
                    <a:cubicBezTo>
                      <a:pt x="383" y="379"/>
                      <a:pt x="383" y="370"/>
                      <a:pt x="383" y="365"/>
                    </a:cubicBezTo>
                    <a:cubicBezTo>
                      <a:pt x="384" y="342"/>
                      <a:pt x="367" y="223"/>
                      <a:pt x="360" y="203"/>
                    </a:cubicBezTo>
                    <a:cubicBezTo>
                      <a:pt x="352" y="182"/>
                      <a:pt x="353" y="151"/>
                      <a:pt x="359" y="136"/>
                    </a:cubicBezTo>
                    <a:cubicBezTo>
                      <a:pt x="363" y="126"/>
                      <a:pt x="352" y="81"/>
                      <a:pt x="344" y="55"/>
                    </a:cubicBezTo>
                    <a:cubicBezTo>
                      <a:pt x="340" y="49"/>
                      <a:pt x="337" y="43"/>
                      <a:pt x="336" y="38"/>
                    </a:cubicBezTo>
                    <a:cubicBezTo>
                      <a:pt x="335" y="35"/>
                      <a:pt x="334" y="32"/>
                      <a:pt x="333" y="29"/>
                    </a:cubicBezTo>
                    <a:cubicBezTo>
                      <a:pt x="329" y="20"/>
                      <a:pt x="326" y="10"/>
                      <a:pt x="323" y="0"/>
                    </a:cubicBezTo>
                    <a:cubicBezTo>
                      <a:pt x="238" y="0"/>
                      <a:pt x="238" y="0"/>
                      <a:pt x="238" y="0"/>
                    </a:cubicBezTo>
                    <a:cubicBezTo>
                      <a:pt x="236" y="0"/>
                      <a:pt x="233" y="1"/>
                      <a:pt x="23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3">
                <a:extLst>
                  <a:ext uri="{FF2B5EF4-FFF2-40B4-BE49-F238E27FC236}">
                    <a16:creationId xmlns:a16="http://schemas.microsoft.com/office/drawing/2014/main" id="{E0DFE307-6CF0-47D1-BA0A-C39623921D46}"/>
                  </a:ext>
                </a:extLst>
              </p:cNvPr>
              <p:cNvSpPr>
                <a:spLocks/>
              </p:cNvSpPr>
              <p:nvPr/>
            </p:nvSpPr>
            <p:spPr bwMode="auto">
              <a:xfrm>
                <a:off x="4917" y="1610"/>
                <a:ext cx="323" cy="586"/>
              </a:xfrm>
              <a:custGeom>
                <a:avLst/>
                <a:gdLst>
                  <a:gd name="T0" fmla="*/ 11 w 275"/>
                  <a:gd name="T1" fmla="*/ 112 h 498"/>
                  <a:gd name="T2" fmla="*/ 12 w 275"/>
                  <a:gd name="T3" fmla="*/ 174 h 498"/>
                  <a:gd name="T4" fmla="*/ 35 w 275"/>
                  <a:gd name="T5" fmla="*/ 338 h 498"/>
                  <a:gd name="T6" fmla="*/ 35 w 275"/>
                  <a:gd name="T7" fmla="*/ 363 h 498"/>
                  <a:gd name="T8" fmla="*/ 22 w 275"/>
                  <a:gd name="T9" fmla="*/ 470 h 498"/>
                  <a:gd name="T10" fmla="*/ 15 w 275"/>
                  <a:gd name="T11" fmla="*/ 487 h 498"/>
                  <a:gd name="T12" fmla="*/ 16 w 275"/>
                  <a:gd name="T13" fmla="*/ 497 h 498"/>
                  <a:gd name="T14" fmla="*/ 15 w 275"/>
                  <a:gd name="T15" fmla="*/ 498 h 498"/>
                  <a:gd name="T16" fmla="*/ 24 w 275"/>
                  <a:gd name="T17" fmla="*/ 495 h 498"/>
                  <a:gd name="T18" fmla="*/ 38 w 275"/>
                  <a:gd name="T19" fmla="*/ 486 h 498"/>
                  <a:gd name="T20" fmla="*/ 45 w 275"/>
                  <a:gd name="T21" fmla="*/ 483 h 498"/>
                  <a:gd name="T22" fmla="*/ 48 w 275"/>
                  <a:gd name="T23" fmla="*/ 480 h 498"/>
                  <a:gd name="T24" fmla="*/ 62 w 275"/>
                  <a:gd name="T25" fmla="*/ 475 h 498"/>
                  <a:gd name="T26" fmla="*/ 75 w 275"/>
                  <a:gd name="T27" fmla="*/ 478 h 498"/>
                  <a:gd name="T28" fmla="*/ 104 w 275"/>
                  <a:gd name="T29" fmla="*/ 484 h 498"/>
                  <a:gd name="T30" fmla="*/ 117 w 275"/>
                  <a:gd name="T31" fmla="*/ 483 h 498"/>
                  <a:gd name="T32" fmla="*/ 132 w 275"/>
                  <a:gd name="T33" fmla="*/ 482 h 498"/>
                  <a:gd name="T34" fmla="*/ 139 w 275"/>
                  <a:gd name="T35" fmla="*/ 470 h 498"/>
                  <a:gd name="T36" fmla="*/ 152 w 275"/>
                  <a:gd name="T37" fmla="*/ 447 h 498"/>
                  <a:gd name="T38" fmla="*/ 186 w 275"/>
                  <a:gd name="T39" fmla="*/ 445 h 498"/>
                  <a:gd name="T40" fmla="*/ 193 w 275"/>
                  <a:gd name="T41" fmla="*/ 446 h 498"/>
                  <a:gd name="T42" fmla="*/ 200 w 275"/>
                  <a:gd name="T43" fmla="*/ 447 h 498"/>
                  <a:gd name="T44" fmla="*/ 214 w 275"/>
                  <a:gd name="T45" fmla="*/ 440 h 498"/>
                  <a:gd name="T46" fmla="*/ 214 w 275"/>
                  <a:gd name="T47" fmla="*/ 439 h 498"/>
                  <a:gd name="T48" fmla="*/ 233 w 275"/>
                  <a:gd name="T49" fmla="*/ 408 h 498"/>
                  <a:gd name="T50" fmla="*/ 243 w 275"/>
                  <a:gd name="T51" fmla="*/ 371 h 498"/>
                  <a:gd name="T52" fmla="*/ 244 w 275"/>
                  <a:gd name="T53" fmla="*/ 346 h 498"/>
                  <a:gd name="T54" fmla="*/ 244 w 275"/>
                  <a:gd name="T55" fmla="*/ 345 h 498"/>
                  <a:gd name="T56" fmla="*/ 275 w 275"/>
                  <a:gd name="T57" fmla="*/ 324 h 498"/>
                  <a:gd name="T58" fmla="*/ 269 w 275"/>
                  <a:gd name="T59" fmla="*/ 290 h 498"/>
                  <a:gd name="T60" fmla="*/ 263 w 275"/>
                  <a:gd name="T61" fmla="*/ 262 h 498"/>
                  <a:gd name="T62" fmla="*/ 263 w 275"/>
                  <a:gd name="T63" fmla="*/ 230 h 498"/>
                  <a:gd name="T64" fmla="*/ 256 w 275"/>
                  <a:gd name="T65" fmla="*/ 198 h 498"/>
                  <a:gd name="T66" fmla="*/ 255 w 275"/>
                  <a:gd name="T67" fmla="*/ 197 h 498"/>
                  <a:gd name="T68" fmla="*/ 255 w 275"/>
                  <a:gd name="T69" fmla="*/ 158 h 498"/>
                  <a:gd name="T70" fmla="*/ 252 w 275"/>
                  <a:gd name="T71" fmla="*/ 137 h 498"/>
                  <a:gd name="T72" fmla="*/ 248 w 275"/>
                  <a:gd name="T73" fmla="*/ 103 h 498"/>
                  <a:gd name="T74" fmla="*/ 243 w 275"/>
                  <a:gd name="T75" fmla="*/ 78 h 498"/>
                  <a:gd name="T76" fmla="*/ 236 w 275"/>
                  <a:gd name="T77" fmla="*/ 59 h 498"/>
                  <a:gd name="T78" fmla="*/ 236 w 275"/>
                  <a:gd name="T79" fmla="*/ 58 h 498"/>
                  <a:gd name="T80" fmla="*/ 233 w 275"/>
                  <a:gd name="T81" fmla="*/ 0 h 498"/>
                  <a:gd name="T82" fmla="*/ 207 w 275"/>
                  <a:gd name="T83" fmla="*/ 0 h 498"/>
                  <a:gd name="T84" fmla="*/ 203 w 275"/>
                  <a:gd name="T85" fmla="*/ 3 h 498"/>
                  <a:gd name="T86" fmla="*/ 199 w 275"/>
                  <a:gd name="T87" fmla="*/ 7 h 498"/>
                  <a:gd name="T88" fmla="*/ 164 w 275"/>
                  <a:gd name="T89" fmla="*/ 7 h 498"/>
                  <a:gd name="T90" fmla="*/ 162 w 275"/>
                  <a:gd name="T91" fmla="*/ 7 h 498"/>
                  <a:gd name="T92" fmla="*/ 162 w 275"/>
                  <a:gd name="T93" fmla="*/ 11 h 498"/>
                  <a:gd name="T94" fmla="*/ 161 w 275"/>
                  <a:gd name="T95" fmla="*/ 15 h 498"/>
                  <a:gd name="T96" fmla="*/ 158 w 275"/>
                  <a:gd name="T97" fmla="*/ 16 h 498"/>
                  <a:gd name="T98" fmla="*/ 118 w 275"/>
                  <a:gd name="T99" fmla="*/ 16 h 498"/>
                  <a:gd name="T100" fmla="*/ 114 w 275"/>
                  <a:gd name="T101" fmla="*/ 21 h 498"/>
                  <a:gd name="T102" fmla="*/ 111 w 275"/>
                  <a:gd name="T103" fmla="*/ 24 h 498"/>
                  <a:gd name="T104" fmla="*/ 56 w 275"/>
                  <a:gd name="T105" fmla="*/ 27 h 498"/>
                  <a:gd name="T106" fmla="*/ 27 w 275"/>
                  <a:gd name="T107" fmla="*/ 41 h 498"/>
                  <a:gd name="T108" fmla="*/ 15 w 275"/>
                  <a:gd name="T109" fmla="*/ 43 h 498"/>
                  <a:gd name="T110" fmla="*/ 0 w 275"/>
                  <a:gd name="T111" fmla="*/ 39 h 498"/>
                  <a:gd name="T112" fmla="*/ 11 w 275"/>
                  <a:gd name="T113" fmla="*/ 112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 h="498">
                    <a:moveTo>
                      <a:pt x="11" y="112"/>
                    </a:moveTo>
                    <a:cubicBezTo>
                      <a:pt x="6" y="125"/>
                      <a:pt x="5" y="154"/>
                      <a:pt x="12" y="174"/>
                    </a:cubicBezTo>
                    <a:cubicBezTo>
                      <a:pt x="19" y="194"/>
                      <a:pt x="36" y="315"/>
                      <a:pt x="35" y="338"/>
                    </a:cubicBezTo>
                    <a:cubicBezTo>
                      <a:pt x="35" y="343"/>
                      <a:pt x="35" y="352"/>
                      <a:pt x="35" y="363"/>
                    </a:cubicBezTo>
                    <a:cubicBezTo>
                      <a:pt x="36" y="412"/>
                      <a:pt x="36" y="457"/>
                      <a:pt x="22" y="470"/>
                    </a:cubicBezTo>
                    <a:cubicBezTo>
                      <a:pt x="13" y="479"/>
                      <a:pt x="14" y="483"/>
                      <a:pt x="15" y="487"/>
                    </a:cubicBezTo>
                    <a:cubicBezTo>
                      <a:pt x="16" y="490"/>
                      <a:pt x="17" y="493"/>
                      <a:pt x="16" y="497"/>
                    </a:cubicBezTo>
                    <a:cubicBezTo>
                      <a:pt x="16" y="497"/>
                      <a:pt x="15" y="498"/>
                      <a:pt x="15" y="498"/>
                    </a:cubicBezTo>
                    <a:cubicBezTo>
                      <a:pt x="18" y="498"/>
                      <a:pt x="22" y="497"/>
                      <a:pt x="24" y="495"/>
                    </a:cubicBezTo>
                    <a:cubicBezTo>
                      <a:pt x="28" y="490"/>
                      <a:pt x="33" y="488"/>
                      <a:pt x="38" y="486"/>
                    </a:cubicBezTo>
                    <a:cubicBezTo>
                      <a:pt x="40" y="485"/>
                      <a:pt x="43" y="484"/>
                      <a:pt x="45" y="483"/>
                    </a:cubicBezTo>
                    <a:cubicBezTo>
                      <a:pt x="46" y="482"/>
                      <a:pt x="47" y="481"/>
                      <a:pt x="48" y="480"/>
                    </a:cubicBezTo>
                    <a:cubicBezTo>
                      <a:pt x="51" y="477"/>
                      <a:pt x="55" y="474"/>
                      <a:pt x="62" y="475"/>
                    </a:cubicBezTo>
                    <a:cubicBezTo>
                      <a:pt x="65" y="475"/>
                      <a:pt x="69" y="477"/>
                      <a:pt x="75" y="478"/>
                    </a:cubicBezTo>
                    <a:cubicBezTo>
                      <a:pt x="85" y="481"/>
                      <a:pt x="98" y="485"/>
                      <a:pt x="104" y="484"/>
                    </a:cubicBezTo>
                    <a:cubicBezTo>
                      <a:pt x="108" y="483"/>
                      <a:pt x="113" y="483"/>
                      <a:pt x="117" y="483"/>
                    </a:cubicBezTo>
                    <a:cubicBezTo>
                      <a:pt x="122" y="483"/>
                      <a:pt x="130" y="483"/>
                      <a:pt x="132" y="482"/>
                    </a:cubicBezTo>
                    <a:cubicBezTo>
                      <a:pt x="133" y="480"/>
                      <a:pt x="136" y="475"/>
                      <a:pt x="139" y="470"/>
                    </a:cubicBezTo>
                    <a:cubicBezTo>
                      <a:pt x="145" y="459"/>
                      <a:pt x="149" y="450"/>
                      <a:pt x="152" y="447"/>
                    </a:cubicBezTo>
                    <a:cubicBezTo>
                      <a:pt x="157" y="442"/>
                      <a:pt x="169" y="443"/>
                      <a:pt x="186" y="445"/>
                    </a:cubicBezTo>
                    <a:cubicBezTo>
                      <a:pt x="189" y="445"/>
                      <a:pt x="191" y="446"/>
                      <a:pt x="193" y="446"/>
                    </a:cubicBezTo>
                    <a:cubicBezTo>
                      <a:pt x="196" y="446"/>
                      <a:pt x="198" y="447"/>
                      <a:pt x="200" y="447"/>
                    </a:cubicBezTo>
                    <a:cubicBezTo>
                      <a:pt x="208" y="449"/>
                      <a:pt x="211" y="449"/>
                      <a:pt x="214" y="440"/>
                    </a:cubicBezTo>
                    <a:cubicBezTo>
                      <a:pt x="214" y="440"/>
                      <a:pt x="214" y="439"/>
                      <a:pt x="214" y="439"/>
                    </a:cubicBezTo>
                    <a:cubicBezTo>
                      <a:pt x="214" y="439"/>
                      <a:pt x="230" y="415"/>
                      <a:pt x="233" y="408"/>
                    </a:cubicBezTo>
                    <a:cubicBezTo>
                      <a:pt x="241" y="389"/>
                      <a:pt x="244" y="374"/>
                      <a:pt x="243" y="371"/>
                    </a:cubicBezTo>
                    <a:cubicBezTo>
                      <a:pt x="238" y="363"/>
                      <a:pt x="239" y="353"/>
                      <a:pt x="244" y="346"/>
                    </a:cubicBezTo>
                    <a:cubicBezTo>
                      <a:pt x="244" y="345"/>
                      <a:pt x="244" y="345"/>
                      <a:pt x="244" y="345"/>
                    </a:cubicBezTo>
                    <a:cubicBezTo>
                      <a:pt x="248" y="339"/>
                      <a:pt x="256" y="326"/>
                      <a:pt x="275" y="324"/>
                    </a:cubicBezTo>
                    <a:cubicBezTo>
                      <a:pt x="274" y="314"/>
                      <a:pt x="272" y="296"/>
                      <a:pt x="269" y="290"/>
                    </a:cubicBezTo>
                    <a:cubicBezTo>
                      <a:pt x="265" y="281"/>
                      <a:pt x="263" y="266"/>
                      <a:pt x="263" y="262"/>
                    </a:cubicBezTo>
                    <a:cubicBezTo>
                      <a:pt x="263" y="230"/>
                      <a:pt x="263" y="230"/>
                      <a:pt x="263" y="230"/>
                    </a:cubicBezTo>
                    <a:cubicBezTo>
                      <a:pt x="256" y="198"/>
                      <a:pt x="256" y="198"/>
                      <a:pt x="256" y="198"/>
                    </a:cubicBezTo>
                    <a:cubicBezTo>
                      <a:pt x="255" y="198"/>
                      <a:pt x="255" y="198"/>
                      <a:pt x="255" y="197"/>
                    </a:cubicBezTo>
                    <a:cubicBezTo>
                      <a:pt x="255" y="158"/>
                      <a:pt x="255" y="158"/>
                      <a:pt x="255" y="158"/>
                    </a:cubicBezTo>
                    <a:cubicBezTo>
                      <a:pt x="255" y="154"/>
                      <a:pt x="253" y="143"/>
                      <a:pt x="252" y="137"/>
                    </a:cubicBezTo>
                    <a:cubicBezTo>
                      <a:pt x="251" y="133"/>
                      <a:pt x="245" y="111"/>
                      <a:pt x="248" y="103"/>
                    </a:cubicBezTo>
                    <a:cubicBezTo>
                      <a:pt x="249" y="99"/>
                      <a:pt x="246" y="86"/>
                      <a:pt x="243" y="78"/>
                    </a:cubicBezTo>
                    <a:cubicBezTo>
                      <a:pt x="236" y="59"/>
                      <a:pt x="236" y="59"/>
                      <a:pt x="236" y="59"/>
                    </a:cubicBezTo>
                    <a:cubicBezTo>
                      <a:pt x="236" y="59"/>
                      <a:pt x="236" y="58"/>
                      <a:pt x="236" y="58"/>
                    </a:cubicBezTo>
                    <a:cubicBezTo>
                      <a:pt x="233" y="0"/>
                      <a:pt x="233" y="0"/>
                      <a:pt x="233" y="0"/>
                    </a:cubicBezTo>
                    <a:cubicBezTo>
                      <a:pt x="221" y="0"/>
                      <a:pt x="210" y="0"/>
                      <a:pt x="207" y="0"/>
                    </a:cubicBezTo>
                    <a:cubicBezTo>
                      <a:pt x="204" y="0"/>
                      <a:pt x="203" y="2"/>
                      <a:pt x="203" y="3"/>
                    </a:cubicBezTo>
                    <a:cubicBezTo>
                      <a:pt x="203" y="5"/>
                      <a:pt x="202" y="7"/>
                      <a:pt x="199" y="7"/>
                    </a:cubicBezTo>
                    <a:cubicBezTo>
                      <a:pt x="164" y="7"/>
                      <a:pt x="164" y="7"/>
                      <a:pt x="164" y="7"/>
                    </a:cubicBezTo>
                    <a:cubicBezTo>
                      <a:pt x="164" y="7"/>
                      <a:pt x="162" y="7"/>
                      <a:pt x="162" y="7"/>
                    </a:cubicBezTo>
                    <a:cubicBezTo>
                      <a:pt x="161" y="8"/>
                      <a:pt x="161" y="10"/>
                      <a:pt x="162" y="11"/>
                    </a:cubicBezTo>
                    <a:cubicBezTo>
                      <a:pt x="162" y="12"/>
                      <a:pt x="162" y="14"/>
                      <a:pt x="161" y="15"/>
                    </a:cubicBezTo>
                    <a:cubicBezTo>
                      <a:pt x="160" y="15"/>
                      <a:pt x="159" y="16"/>
                      <a:pt x="158" y="16"/>
                    </a:cubicBezTo>
                    <a:cubicBezTo>
                      <a:pt x="144" y="16"/>
                      <a:pt x="122" y="15"/>
                      <a:pt x="118" y="16"/>
                    </a:cubicBezTo>
                    <a:cubicBezTo>
                      <a:pt x="115" y="17"/>
                      <a:pt x="114" y="21"/>
                      <a:pt x="114" y="21"/>
                    </a:cubicBezTo>
                    <a:cubicBezTo>
                      <a:pt x="114" y="23"/>
                      <a:pt x="113" y="24"/>
                      <a:pt x="111" y="24"/>
                    </a:cubicBezTo>
                    <a:cubicBezTo>
                      <a:pt x="56" y="27"/>
                      <a:pt x="56" y="27"/>
                      <a:pt x="56" y="27"/>
                    </a:cubicBezTo>
                    <a:cubicBezTo>
                      <a:pt x="48" y="33"/>
                      <a:pt x="39" y="38"/>
                      <a:pt x="27" y="41"/>
                    </a:cubicBezTo>
                    <a:cubicBezTo>
                      <a:pt x="23" y="42"/>
                      <a:pt x="19" y="43"/>
                      <a:pt x="15" y="43"/>
                    </a:cubicBezTo>
                    <a:cubicBezTo>
                      <a:pt x="9" y="43"/>
                      <a:pt x="4" y="41"/>
                      <a:pt x="0" y="39"/>
                    </a:cubicBezTo>
                    <a:cubicBezTo>
                      <a:pt x="6" y="60"/>
                      <a:pt x="15" y="100"/>
                      <a:pt x="11"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4">
                <a:extLst>
                  <a:ext uri="{FF2B5EF4-FFF2-40B4-BE49-F238E27FC236}">
                    <a16:creationId xmlns:a16="http://schemas.microsoft.com/office/drawing/2014/main" id="{A8554FF0-1DBB-4531-9D6B-A30182A55A8C}"/>
                  </a:ext>
                </a:extLst>
              </p:cNvPr>
              <p:cNvSpPr>
                <a:spLocks/>
              </p:cNvSpPr>
              <p:nvPr/>
            </p:nvSpPr>
            <p:spPr bwMode="auto">
              <a:xfrm>
                <a:off x="4309" y="954"/>
                <a:ext cx="568" cy="636"/>
              </a:xfrm>
              <a:custGeom>
                <a:avLst/>
                <a:gdLst>
                  <a:gd name="T0" fmla="*/ 43 w 483"/>
                  <a:gd name="T1" fmla="*/ 102 h 541"/>
                  <a:gd name="T2" fmla="*/ 0 w 483"/>
                  <a:gd name="T3" fmla="*/ 123 h 541"/>
                  <a:gd name="T4" fmla="*/ 31 w 483"/>
                  <a:gd name="T5" fmla="*/ 143 h 541"/>
                  <a:gd name="T6" fmla="*/ 19 w 483"/>
                  <a:gd name="T7" fmla="*/ 156 h 541"/>
                  <a:gd name="T8" fmla="*/ 22 w 483"/>
                  <a:gd name="T9" fmla="*/ 208 h 541"/>
                  <a:gd name="T10" fmla="*/ 27 w 483"/>
                  <a:gd name="T11" fmla="*/ 231 h 541"/>
                  <a:gd name="T12" fmla="*/ 35 w 483"/>
                  <a:gd name="T13" fmla="*/ 252 h 541"/>
                  <a:gd name="T14" fmla="*/ 20 w 483"/>
                  <a:gd name="T15" fmla="*/ 289 h 541"/>
                  <a:gd name="T16" fmla="*/ 32 w 483"/>
                  <a:gd name="T17" fmla="*/ 296 h 541"/>
                  <a:gd name="T18" fmla="*/ 90 w 483"/>
                  <a:gd name="T19" fmla="*/ 313 h 541"/>
                  <a:gd name="T20" fmla="*/ 158 w 483"/>
                  <a:gd name="T21" fmla="*/ 389 h 541"/>
                  <a:gd name="T22" fmla="*/ 171 w 483"/>
                  <a:gd name="T23" fmla="*/ 465 h 541"/>
                  <a:gd name="T24" fmla="*/ 174 w 483"/>
                  <a:gd name="T25" fmla="*/ 493 h 541"/>
                  <a:gd name="T26" fmla="*/ 175 w 483"/>
                  <a:gd name="T27" fmla="*/ 524 h 541"/>
                  <a:gd name="T28" fmla="*/ 195 w 483"/>
                  <a:gd name="T29" fmla="*/ 535 h 541"/>
                  <a:gd name="T30" fmla="*/ 290 w 483"/>
                  <a:gd name="T31" fmla="*/ 541 h 541"/>
                  <a:gd name="T32" fmla="*/ 384 w 483"/>
                  <a:gd name="T33" fmla="*/ 533 h 541"/>
                  <a:gd name="T34" fmla="*/ 399 w 483"/>
                  <a:gd name="T35" fmla="*/ 523 h 541"/>
                  <a:gd name="T36" fmla="*/ 482 w 483"/>
                  <a:gd name="T37" fmla="*/ 517 h 541"/>
                  <a:gd name="T38" fmla="*/ 472 w 483"/>
                  <a:gd name="T39" fmla="*/ 460 h 541"/>
                  <a:gd name="T40" fmla="*/ 455 w 483"/>
                  <a:gd name="T41" fmla="*/ 358 h 541"/>
                  <a:gd name="T42" fmla="*/ 481 w 483"/>
                  <a:gd name="T43" fmla="*/ 174 h 541"/>
                  <a:gd name="T44" fmla="*/ 470 w 483"/>
                  <a:gd name="T45" fmla="*/ 184 h 541"/>
                  <a:gd name="T46" fmla="*/ 414 w 483"/>
                  <a:gd name="T47" fmla="*/ 255 h 541"/>
                  <a:gd name="T48" fmla="*/ 436 w 483"/>
                  <a:gd name="T49" fmla="*/ 187 h 541"/>
                  <a:gd name="T50" fmla="*/ 430 w 483"/>
                  <a:gd name="T51" fmla="*/ 158 h 541"/>
                  <a:gd name="T52" fmla="*/ 396 w 483"/>
                  <a:gd name="T53" fmla="*/ 111 h 541"/>
                  <a:gd name="T54" fmla="*/ 365 w 483"/>
                  <a:gd name="T55" fmla="*/ 106 h 541"/>
                  <a:gd name="T56" fmla="*/ 330 w 483"/>
                  <a:gd name="T57" fmla="*/ 93 h 541"/>
                  <a:gd name="T58" fmla="*/ 277 w 483"/>
                  <a:gd name="T59" fmla="*/ 77 h 541"/>
                  <a:gd name="T60" fmla="*/ 228 w 483"/>
                  <a:gd name="T61" fmla="*/ 67 h 541"/>
                  <a:gd name="T62" fmla="*/ 202 w 483"/>
                  <a:gd name="T63" fmla="*/ 46 h 541"/>
                  <a:gd name="T64" fmla="*/ 197 w 483"/>
                  <a:gd name="T65" fmla="*/ 45 h 541"/>
                  <a:gd name="T66" fmla="*/ 184 w 483"/>
                  <a:gd name="T67" fmla="*/ 36 h 541"/>
                  <a:gd name="T68" fmla="*/ 171 w 483"/>
                  <a:gd name="T69" fmla="*/ 37 h 541"/>
                  <a:gd name="T70" fmla="*/ 160 w 483"/>
                  <a:gd name="T71" fmla="*/ 37 h 541"/>
                  <a:gd name="T72" fmla="*/ 162 w 483"/>
                  <a:gd name="T73" fmla="*/ 10 h 541"/>
                  <a:gd name="T74" fmla="*/ 157 w 483"/>
                  <a:gd name="T75" fmla="*/ 1 h 541"/>
                  <a:gd name="T76" fmla="*/ 147 w 483"/>
                  <a:gd name="T77" fmla="*/ 5 h 541"/>
                  <a:gd name="T78" fmla="*/ 128 w 483"/>
                  <a:gd name="T79" fmla="*/ 10 h 541"/>
                  <a:gd name="T80" fmla="*/ 120 w 483"/>
                  <a:gd name="T81" fmla="*/ 16 h 541"/>
                  <a:gd name="T82" fmla="*/ 95 w 483"/>
                  <a:gd name="T83" fmla="*/ 18 h 541"/>
                  <a:gd name="T84" fmla="*/ 84 w 483"/>
                  <a:gd name="T85" fmla="*/ 18 h 541"/>
                  <a:gd name="T86" fmla="*/ 76 w 483"/>
                  <a:gd name="T87" fmla="*/ 3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3" h="541">
                    <a:moveTo>
                      <a:pt x="65" y="86"/>
                    </a:moveTo>
                    <a:cubicBezTo>
                      <a:pt x="62" y="87"/>
                      <a:pt x="51" y="96"/>
                      <a:pt x="43" y="102"/>
                    </a:cubicBezTo>
                    <a:cubicBezTo>
                      <a:pt x="29" y="115"/>
                      <a:pt x="23" y="119"/>
                      <a:pt x="19" y="119"/>
                    </a:cubicBezTo>
                    <a:cubicBezTo>
                      <a:pt x="12" y="119"/>
                      <a:pt x="3" y="121"/>
                      <a:pt x="0" y="123"/>
                    </a:cubicBezTo>
                    <a:cubicBezTo>
                      <a:pt x="3" y="125"/>
                      <a:pt x="11" y="129"/>
                      <a:pt x="15" y="130"/>
                    </a:cubicBezTo>
                    <a:cubicBezTo>
                      <a:pt x="19" y="131"/>
                      <a:pt x="30" y="136"/>
                      <a:pt x="31" y="143"/>
                    </a:cubicBezTo>
                    <a:cubicBezTo>
                      <a:pt x="31" y="145"/>
                      <a:pt x="29" y="148"/>
                      <a:pt x="27" y="149"/>
                    </a:cubicBezTo>
                    <a:cubicBezTo>
                      <a:pt x="22" y="152"/>
                      <a:pt x="19" y="154"/>
                      <a:pt x="19" y="156"/>
                    </a:cubicBezTo>
                    <a:cubicBezTo>
                      <a:pt x="19" y="157"/>
                      <a:pt x="19" y="158"/>
                      <a:pt x="19" y="159"/>
                    </a:cubicBezTo>
                    <a:cubicBezTo>
                      <a:pt x="19" y="185"/>
                      <a:pt x="20" y="201"/>
                      <a:pt x="22" y="208"/>
                    </a:cubicBezTo>
                    <a:cubicBezTo>
                      <a:pt x="25" y="215"/>
                      <a:pt x="25" y="220"/>
                      <a:pt x="25" y="224"/>
                    </a:cubicBezTo>
                    <a:cubicBezTo>
                      <a:pt x="25" y="228"/>
                      <a:pt x="25" y="229"/>
                      <a:pt x="27" y="231"/>
                    </a:cubicBezTo>
                    <a:cubicBezTo>
                      <a:pt x="28" y="232"/>
                      <a:pt x="28" y="232"/>
                      <a:pt x="28" y="232"/>
                    </a:cubicBezTo>
                    <a:cubicBezTo>
                      <a:pt x="35" y="237"/>
                      <a:pt x="35" y="239"/>
                      <a:pt x="35" y="252"/>
                    </a:cubicBezTo>
                    <a:cubicBezTo>
                      <a:pt x="36" y="262"/>
                      <a:pt x="30" y="271"/>
                      <a:pt x="25" y="279"/>
                    </a:cubicBezTo>
                    <a:cubicBezTo>
                      <a:pt x="23" y="283"/>
                      <a:pt x="20" y="287"/>
                      <a:pt x="20" y="289"/>
                    </a:cubicBezTo>
                    <a:cubicBezTo>
                      <a:pt x="19" y="291"/>
                      <a:pt x="20" y="292"/>
                      <a:pt x="20" y="293"/>
                    </a:cubicBezTo>
                    <a:cubicBezTo>
                      <a:pt x="22" y="295"/>
                      <a:pt x="27" y="296"/>
                      <a:pt x="32" y="296"/>
                    </a:cubicBezTo>
                    <a:cubicBezTo>
                      <a:pt x="33" y="296"/>
                      <a:pt x="35" y="296"/>
                      <a:pt x="37" y="296"/>
                    </a:cubicBezTo>
                    <a:cubicBezTo>
                      <a:pt x="52" y="295"/>
                      <a:pt x="82" y="294"/>
                      <a:pt x="90" y="313"/>
                    </a:cubicBezTo>
                    <a:cubicBezTo>
                      <a:pt x="98" y="332"/>
                      <a:pt x="117" y="348"/>
                      <a:pt x="126" y="352"/>
                    </a:cubicBezTo>
                    <a:cubicBezTo>
                      <a:pt x="136" y="356"/>
                      <a:pt x="158" y="365"/>
                      <a:pt x="158" y="389"/>
                    </a:cubicBezTo>
                    <a:cubicBezTo>
                      <a:pt x="158" y="444"/>
                      <a:pt x="158" y="444"/>
                      <a:pt x="158" y="444"/>
                    </a:cubicBezTo>
                    <a:cubicBezTo>
                      <a:pt x="161" y="451"/>
                      <a:pt x="166" y="462"/>
                      <a:pt x="171" y="465"/>
                    </a:cubicBezTo>
                    <a:cubicBezTo>
                      <a:pt x="180" y="472"/>
                      <a:pt x="179" y="477"/>
                      <a:pt x="176" y="486"/>
                    </a:cubicBezTo>
                    <a:cubicBezTo>
                      <a:pt x="175" y="489"/>
                      <a:pt x="174" y="491"/>
                      <a:pt x="174" y="493"/>
                    </a:cubicBezTo>
                    <a:cubicBezTo>
                      <a:pt x="171" y="499"/>
                      <a:pt x="168" y="505"/>
                      <a:pt x="172" y="511"/>
                    </a:cubicBezTo>
                    <a:cubicBezTo>
                      <a:pt x="175" y="517"/>
                      <a:pt x="175" y="521"/>
                      <a:pt x="175" y="524"/>
                    </a:cubicBezTo>
                    <a:cubicBezTo>
                      <a:pt x="175" y="526"/>
                      <a:pt x="175" y="527"/>
                      <a:pt x="177" y="527"/>
                    </a:cubicBezTo>
                    <a:cubicBezTo>
                      <a:pt x="182" y="531"/>
                      <a:pt x="191" y="535"/>
                      <a:pt x="195" y="535"/>
                    </a:cubicBezTo>
                    <a:cubicBezTo>
                      <a:pt x="200" y="535"/>
                      <a:pt x="206" y="537"/>
                      <a:pt x="211" y="541"/>
                    </a:cubicBezTo>
                    <a:cubicBezTo>
                      <a:pt x="290" y="541"/>
                      <a:pt x="290" y="541"/>
                      <a:pt x="290" y="541"/>
                    </a:cubicBezTo>
                    <a:cubicBezTo>
                      <a:pt x="292" y="537"/>
                      <a:pt x="297" y="533"/>
                      <a:pt x="305" y="533"/>
                    </a:cubicBezTo>
                    <a:cubicBezTo>
                      <a:pt x="384" y="533"/>
                      <a:pt x="384" y="533"/>
                      <a:pt x="384" y="533"/>
                    </a:cubicBezTo>
                    <a:cubicBezTo>
                      <a:pt x="385" y="531"/>
                      <a:pt x="385" y="529"/>
                      <a:pt x="387" y="528"/>
                    </a:cubicBezTo>
                    <a:cubicBezTo>
                      <a:pt x="389" y="525"/>
                      <a:pt x="393" y="523"/>
                      <a:pt x="399" y="523"/>
                    </a:cubicBezTo>
                    <a:cubicBezTo>
                      <a:pt x="483" y="523"/>
                      <a:pt x="483" y="523"/>
                      <a:pt x="483" y="523"/>
                    </a:cubicBezTo>
                    <a:cubicBezTo>
                      <a:pt x="482" y="521"/>
                      <a:pt x="482" y="519"/>
                      <a:pt x="482" y="517"/>
                    </a:cubicBezTo>
                    <a:cubicBezTo>
                      <a:pt x="482" y="514"/>
                      <a:pt x="482" y="511"/>
                      <a:pt x="482" y="508"/>
                    </a:cubicBezTo>
                    <a:cubicBezTo>
                      <a:pt x="481" y="492"/>
                      <a:pt x="481" y="471"/>
                      <a:pt x="472" y="460"/>
                    </a:cubicBezTo>
                    <a:cubicBezTo>
                      <a:pt x="463" y="449"/>
                      <a:pt x="461" y="422"/>
                      <a:pt x="459" y="395"/>
                    </a:cubicBezTo>
                    <a:cubicBezTo>
                      <a:pt x="458" y="382"/>
                      <a:pt x="457" y="368"/>
                      <a:pt x="455" y="358"/>
                    </a:cubicBezTo>
                    <a:cubicBezTo>
                      <a:pt x="450" y="325"/>
                      <a:pt x="454" y="278"/>
                      <a:pt x="461" y="260"/>
                    </a:cubicBezTo>
                    <a:cubicBezTo>
                      <a:pt x="467" y="244"/>
                      <a:pt x="479" y="201"/>
                      <a:pt x="481" y="174"/>
                    </a:cubicBezTo>
                    <a:cubicBezTo>
                      <a:pt x="481" y="169"/>
                      <a:pt x="481" y="166"/>
                      <a:pt x="480" y="165"/>
                    </a:cubicBezTo>
                    <a:cubicBezTo>
                      <a:pt x="478" y="167"/>
                      <a:pt x="472" y="175"/>
                      <a:pt x="470" y="184"/>
                    </a:cubicBezTo>
                    <a:cubicBezTo>
                      <a:pt x="469" y="186"/>
                      <a:pt x="451" y="252"/>
                      <a:pt x="423" y="259"/>
                    </a:cubicBezTo>
                    <a:cubicBezTo>
                      <a:pt x="419" y="259"/>
                      <a:pt x="416" y="258"/>
                      <a:pt x="414" y="255"/>
                    </a:cubicBezTo>
                    <a:cubicBezTo>
                      <a:pt x="410" y="246"/>
                      <a:pt x="424" y="217"/>
                      <a:pt x="438" y="188"/>
                    </a:cubicBezTo>
                    <a:cubicBezTo>
                      <a:pt x="437" y="188"/>
                      <a:pt x="436" y="188"/>
                      <a:pt x="436" y="187"/>
                    </a:cubicBezTo>
                    <a:cubicBezTo>
                      <a:pt x="429" y="183"/>
                      <a:pt x="429" y="172"/>
                      <a:pt x="430" y="162"/>
                    </a:cubicBezTo>
                    <a:cubicBezTo>
                      <a:pt x="430" y="160"/>
                      <a:pt x="430" y="159"/>
                      <a:pt x="430" y="158"/>
                    </a:cubicBezTo>
                    <a:cubicBezTo>
                      <a:pt x="430" y="150"/>
                      <a:pt x="427" y="135"/>
                      <a:pt x="422" y="134"/>
                    </a:cubicBezTo>
                    <a:cubicBezTo>
                      <a:pt x="414" y="131"/>
                      <a:pt x="402" y="123"/>
                      <a:pt x="396" y="111"/>
                    </a:cubicBezTo>
                    <a:cubicBezTo>
                      <a:pt x="394" y="105"/>
                      <a:pt x="380" y="106"/>
                      <a:pt x="372" y="106"/>
                    </a:cubicBezTo>
                    <a:cubicBezTo>
                      <a:pt x="369" y="106"/>
                      <a:pt x="367" y="106"/>
                      <a:pt x="365" y="106"/>
                    </a:cubicBezTo>
                    <a:cubicBezTo>
                      <a:pt x="359" y="106"/>
                      <a:pt x="350" y="102"/>
                      <a:pt x="342" y="98"/>
                    </a:cubicBezTo>
                    <a:cubicBezTo>
                      <a:pt x="338" y="96"/>
                      <a:pt x="332" y="93"/>
                      <a:pt x="330" y="93"/>
                    </a:cubicBezTo>
                    <a:cubicBezTo>
                      <a:pt x="323" y="93"/>
                      <a:pt x="302" y="86"/>
                      <a:pt x="296" y="77"/>
                    </a:cubicBezTo>
                    <a:cubicBezTo>
                      <a:pt x="294" y="74"/>
                      <a:pt x="284" y="75"/>
                      <a:pt x="277" y="77"/>
                    </a:cubicBezTo>
                    <a:cubicBezTo>
                      <a:pt x="272" y="78"/>
                      <a:pt x="268" y="78"/>
                      <a:pt x="264" y="78"/>
                    </a:cubicBezTo>
                    <a:cubicBezTo>
                      <a:pt x="253" y="78"/>
                      <a:pt x="238" y="78"/>
                      <a:pt x="228" y="67"/>
                    </a:cubicBezTo>
                    <a:cubicBezTo>
                      <a:pt x="221" y="58"/>
                      <a:pt x="208" y="49"/>
                      <a:pt x="205" y="48"/>
                    </a:cubicBezTo>
                    <a:cubicBezTo>
                      <a:pt x="203" y="47"/>
                      <a:pt x="203" y="46"/>
                      <a:pt x="202" y="46"/>
                    </a:cubicBezTo>
                    <a:cubicBezTo>
                      <a:pt x="202" y="45"/>
                      <a:pt x="202" y="45"/>
                      <a:pt x="202" y="45"/>
                    </a:cubicBezTo>
                    <a:cubicBezTo>
                      <a:pt x="201" y="45"/>
                      <a:pt x="198" y="45"/>
                      <a:pt x="197" y="45"/>
                    </a:cubicBezTo>
                    <a:cubicBezTo>
                      <a:pt x="189" y="45"/>
                      <a:pt x="187" y="41"/>
                      <a:pt x="185" y="37"/>
                    </a:cubicBezTo>
                    <a:cubicBezTo>
                      <a:pt x="185" y="37"/>
                      <a:pt x="184" y="37"/>
                      <a:pt x="184" y="36"/>
                    </a:cubicBezTo>
                    <a:cubicBezTo>
                      <a:pt x="184" y="36"/>
                      <a:pt x="183" y="36"/>
                      <a:pt x="181" y="36"/>
                    </a:cubicBezTo>
                    <a:cubicBezTo>
                      <a:pt x="178" y="36"/>
                      <a:pt x="175" y="36"/>
                      <a:pt x="171" y="37"/>
                    </a:cubicBezTo>
                    <a:cubicBezTo>
                      <a:pt x="168" y="37"/>
                      <a:pt x="164" y="37"/>
                      <a:pt x="161" y="37"/>
                    </a:cubicBezTo>
                    <a:cubicBezTo>
                      <a:pt x="160" y="37"/>
                      <a:pt x="160" y="37"/>
                      <a:pt x="160" y="37"/>
                    </a:cubicBezTo>
                    <a:cubicBezTo>
                      <a:pt x="157" y="37"/>
                      <a:pt x="154" y="35"/>
                      <a:pt x="153" y="32"/>
                    </a:cubicBezTo>
                    <a:cubicBezTo>
                      <a:pt x="151" y="25"/>
                      <a:pt x="158" y="13"/>
                      <a:pt x="162" y="10"/>
                    </a:cubicBezTo>
                    <a:cubicBezTo>
                      <a:pt x="162" y="9"/>
                      <a:pt x="161" y="7"/>
                      <a:pt x="160" y="5"/>
                    </a:cubicBezTo>
                    <a:cubicBezTo>
                      <a:pt x="159" y="4"/>
                      <a:pt x="158" y="3"/>
                      <a:pt x="157" y="1"/>
                    </a:cubicBezTo>
                    <a:cubicBezTo>
                      <a:pt x="157" y="1"/>
                      <a:pt x="157" y="0"/>
                      <a:pt x="155" y="0"/>
                    </a:cubicBezTo>
                    <a:cubicBezTo>
                      <a:pt x="152" y="0"/>
                      <a:pt x="148" y="3"/>
                      <a:pt x="147" y="5"/>
                    </a:cubicBezTo>
                    <a:cubicBezTo>
                      <a:pt x="143" y="10"/>
                      <a:pt x="137" y="10"/>
                      <a:pt x="131" y="10"/>
                    </a:cubicBezTo>
                    <a:cubicBezTo>
                      <a:pt x="130" y="10"/>
                      <a:pt x="129" y="10"/>
                      <a:pt x="128" y="10"/>
                    </a:cubicBezTo>
                    <a:cubicBezTo>
                      <a:pt x="126" y="10"/>
                      <a:pt x="126" y="10"/>
                      <a:pt x="125" y="11"/>
                    </a:cubicBezTo>
                    <a:cubicBezTo>
                      <a:pt x="124" y="13"/>
                      <a:pt x="123" y="15"/>
                      <a:pt x="120" y="16"/>
                    </a:cubicBezTo>
                    <a:cubicBezTo>
                      <a:pt x="118" y="18"/>
                      <a:pt x="114" y="18"/>
                      <a:pt x="107" y="18"/>
                    </a:cubicBezTo>
                    <a:cubicBezTo>
                      <a:pt x="103" y="18"/>
                      <a:pt x="99" y="18"/>
                      <a:pt x="95" y="18"/>
                    </a:cubicBezTo>
                    <a:cubicBezTo>
                      <a:pt x="91" y="18"/>
                      <a:pt x="88" y="17"/>
                      <a:pt x="85" y="18"/>
                    </a:cubicBezTo>
                    <a:cubicBezTo>
                      <a:pt x="84" y="18"/>
                      <a:pt x="84" y="18"/>
                      <a:pt x="84" y="18"/>
                    </a:cubicBezTo>
                    <a:cubicBezTo>
                      <a:pt x="83" y="18"/>
                      <a:pt x="82" y="17"/>
                      <a:pt x="82" y="17"/>
                    </a:cubicBezTo>
                    <a:cubicBezTo>
                      <a:pt x="80" y="21"/>
                      <a:pt x="76" y="28"/>
                      <a:pt x="76" y="33"/>
                    </a:cubicBezTo>
                    <a:cubicBezTo>
                      <a:pt x="76" y="84"/>
                      <a:pt x="67" y="86"/>
                      <a:pt x="65"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5">
                <a:extLst>
                  <a:ext uri="{FF2B5EF4-FFF2-40B4-BE49-F238E27FC236}">
                    <a16:creationId xmlns:a16="http://schemas.microsoft.com/office/drawing/2014/main" id="{F08FDCA1-F93E-4343-921A-654EDE166727}"/>
                  </a:ext>
                </a:extLst>
              </p:cNvPr>
              <p:cNvSpPr>
                <a:spLocks/>
              </p:cNvSpPr>
              <p:nvPr/>
            </p:nvSpPr>
            <p:spPr bwMode="auto">
              <a:xfrm>
                <a:off x="2096" y="1576"/>
                <a:ext cx="578" cy="790"/>
              </a:xfrm>
              <a:custGeom>
                <a:avLst/>
                <a:gdLst>
                  <a:gd name="T0" fmla="*/ 492 w 492"/>
                  <a:gd name="T1" fmla="*/ 201 h 671"/>
                  <a:gd name="T2" fmla="*/ 328 w 492"/>
                  <a:gd name="T3" fmla="*/ 201 h 671"/>
                  <a:gd name="T4" fmla="*/ 325 w 492"/>
                  <a:gd name="T5" fmla="*/ 200 h 671"/>
                  <a:gd name="T6" fmla="*/ 324 w 492"/>
                  <a:gd name="T7" fmla="*/ 197 h 671"/>
                  <a:gd name="T8" fmla="*/ 336 w 492"/>
                  <a:gd name="T9" fmla="*/ 19 h 671"/>
                  <a:gd name="T10" fmla="*/ 74 w 492"/>
                  <a:gd name="T11" fmla="*/ 0 h 671"/>
                  <a:gd name="T12" fmla="*/ 0 w 492"/>
                  <a:gd name="T13" fmla="*/ 628 h 671"/>
                  <a:gd name="T14" fmla="*/ 459 w 492"/>
                  <a:gd name="T15" fmla="*/ 671 h 671"/>
                  <a:gd name="T16" fmla="*/ 492 w 492"/>
                  <a:gd name="T17" fmla="*/ 20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2" h="671">
                    <a:moveTo>
                      <a:pt x="492" y="201"/>
                    </a:moveTo>
                    <a:cubicBezTo>
                      <a:pt x="328" y="201"/>
                      <a:pt x="328" y="201"/>
                      <a:pt x="328" y="201"/>
                    </a:cubicBezTo>
                    <a:cubicBezTo>
                      <a:pt x="327" y="201"/>
                      <a:pt x="326" y="200"/>
                      <a:pt x="325" y="200"/>
                    </a:cubicBezTo>
                    <a:cubicBezTo>
                      <a:pt x="324" y="199"/>
                      <a:pt x="324" y="198"/>
                      <a:pt x="324" y="197"/>
                    </a:cubicBezTo>
                    <a:cubicBezTo>
                      <a:pt x="336" y="19"/>
                      <a:pt x="336" y="19"/>
                      <a:pt x="336" y="19"/>
                    </a:cubicBezTo>
                    <a:cubicBezTo>
                      <a:pt x="312" y="18"/>
                      <a:pt x="192" y="10"/>
                      <a:pt x="74" y="0"/>
                    </a:cubicBezTo>
                    <a:cubicBezTo>
                      <a:pt x="0" y="628"/>
                      <a:pt x="0" y="628"/>
                      <a:pt x="0" y="628"/>
                    </a:cubicBezTo>
                    <a:cubicBezTo>
                      <a:pt x="459" y="671"/>
                      <a:pt x="459" y="671"/>
                      <a:pt x="459" y="671"/>
                    </a:cubicBezTo>
                    <a:lnTo>
                      <a:pt x="49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6">
                <a:extLst>
                  <a:ext uri="{FF2B5EF4-FFF2-40B4-BE49-F238E27FC236}">
                    <a16:creationId xmlns:a16="http://schemas.microsoft.com/office/drawing/2014/main" id="{1DB4F15F-41BD-444E-8B03-C15570707DDC}"/>
                  </a:ext>
                </a:extLst>
              </p:cNvPr>
              <p:cNvSpPr>
                <a:spLocks/>
              </p:cNvSpPr>
              <p:nvPr/>
            </p:nvSpPr>
            <p:spPr bwMode="auto">
              <a:xfrm>
                <a:off x="1511" y="1483"/>
                <a:ext cx="662" cy="1071"/>
              </a:xfrm>
              <a:custGeom>
                <a:avLst/>
                <a:gdLst>
                  <a:gd name="T0" fmla="*/ 324 w 563"/>
                  <a:gd name="T1" fmla="*/ 49 h 910"/>
                  <a:gd name="T2" fmla="*/ 183 w 563"/>
                  <a:gd name="T3" fmla="*/ 19 h 910"/>
                  <a:gd name="T4" fmla="*/ 60 w 563"/>
                  <a:gd name="T5" fmla="*/ 0 h 910"/>
                  <a:gd name="T6" fmla="*/ 7 w 563"/>
                  <a:gd name="T7" fmla="*/ 332 h 910"/>
                  <a:gd name="T8" fmla="*/ 17 w 563"/>
                  <a:gd name="T9" fmla="*/ 377 h 910"/>
                  <a:gd name="T10" fmla="*/ 382 w 563"/>
                  <a:gd name="T11" fmla="*/ 910 h 910"/>
                  <a:gd name="T12" fmla="*/ 382 w 563"/>
                  <a:gd name="T13" fmla="*/ 811 h 910"/>
                  <a:gd name="T14" fmla="*/ 392 w 563"/>
                  <a:gd name="T15" fmla="*/ 789 h 910"/>
                  <a:gd name="T16" fmla="*/ 433 w 563"/>
                  <a:gd name="T17" fmla="*/ 791 h 910"/>
                  <a:gd name="T18" fmla="*/ 439 w 563"/>
                  <a:gd name="T19" fmla="*/ 793 h 910"/>
                  <a:gd name="T20" fmla="*/ 447 w 563"/>
                  <a:gd name="T21" fmla="*/ 796 h 910"/>
                  <a:gd name="T22" fmla="*/ 469 w 563"/>
                  <a:gd name="T23" fmla="*/ 794 h 910"/>
                  <a:gd name="T24" fmla="*/ 489 w 563"/>
                  <a:gd name="T25" fmla="*/ 711 h 910"/>
                  <a:gd name="T26" fmla="*/ 489 w 563"/>
                  <a:gd name="T27" fmla="*/ 711 h 910"/>
                  <a:gd name="T28" fmla="*/ 489 w 563"/>
                  <a:gd name="T29" fmla="*/ 711 h 910"/>
                  <a:gd name="T30" fmla="*/ 563 w 563"/>
                  <a:gd name="T31" fmla="*/ 78 h 910"/>
                  <a:gd name="T32" fmla="*/ 324 w 563"/>
                  <a:gd name="T33" fmla="*/ 49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3" h="910">
                    <a:moveTo>
                      <a:pt x="324" y="49"/>
                    </a:moveTo>
                    <a:cubicBezTo>
                      <a:pt x="319" y="48"/>
                      <a:pt x="229" y="22"/>
                      <a:pt x="183" y="19"/>
                    </a:cubicBezTo>
                    <a:cubicBezTo>
                      <a:pt x="160" y="18"/>
                      <a:pt x="99" y="7"/>
                      <a:pt x="60" y="0"/>
                    </a:cubicBezTo>
                    <a:cubicBezTo>
                      <a:pt x="53" y="47"/>
                      <a:pt x="14" y="315"/>
                      <a:pt x="7" y="332"/>
                    </a:cubicBezTo>
                    <a:cubicBezTo>
                      <a:pt x="0" y="347"/>
                      <a:pt x="6" y="366"/>
                      <a:pt x="17" y="377"/>
                    </a:cubicBezTo>
                    <a:cubicBezTo>
                      <a:pt x="28" y="389"/>
                      <a:pt x="355" y="870"/>
                      <a:pt x="382" y="910"/>
                    </a:cubicBezTo>
                    <a:cubicBezTo>
                      <a:pt x="382" y="887"/>
                      <a:pt x="381" y="839"/>
                      <a:pt x="382" y="811"/>
                    </a:cubicBezTo>
                    <a:cubicBezTo>
                      <a:pt x="383" y="800"/>
                      <a:pt x="386" y="793"/>
                      <a:pt x="392" y="789"/>
                    </a:cubicBezTo>
                    <a:cubicBezTo>
                      <a:pt x="404" y="781"/>
                      <a:pt x="422" y="787"/>
                      <a:pt x="433" y="791"/>
                    </a:cubicBezTo>
                    <a:cubicBezTo>
                      <a:pt x="436" y="792"/>
                      <a:pt x="438" y="793"/>
                      <a:pt x="439" y="793"/>
                    </a:cubicBezTo>
                    <a:cubicBezTo>
                      <a:pt x="442" y="794"/>
                      <a:pt x="445" y="795"/>
                      <a:pt x="447" y="796"/>
                    </a:cubicBezTo>
                    <a:cubicBezTo>
                      <a:pt x="454" y="798"/>
                      <a:pt x="459" y="801"/>
                      <a:pt x="469" y="794"/>
                    </a:cubicBezTo>
                    <a:cubicBezTo>
                      <a:pt x="480" y="787"/>
                      <a:pt x="487" y="739"/>
                      <a:pt x="489" y="711"/>
                    </a:cubicBezTo>
                    <a:cubicBezTo>
                      <a:pt x="489" y="711"/>
                      <a:pt x="489" y="711"/>
                      <a:pt x="489" y="711"/>
                    </a:cubicBezTo>
                    <a:cubicBezTo>
                      <a:pt x="489" y="711"/>
                      <a:pt x="489" y="711"/>
                      <a:pt x="489" y="711"/>
                    </a:cubicBezTo>
                    <a:cubicBezTo>
                      <a:pt x="563" y="78"/>
                      <a:pt x="563" y="78"/>
                      <a:pt x="563" y="78"/>
                    </a:cubicBezTo>
                    <a:cubicBezTo>
                      <a:pt x="451" y="69"/>
                      <a:pt x="343" y="58"/>
                      <a:pt x="324"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7">
                <a:extLst>
                  <a:ext uri="{FF2B5EF4-FFF2-40B4-BE49-F238E27FC236}">
                    <a16:creationId xmlns:a16="http://schemas.microsoft.com/office/drawing/2014/main" id="{697CBEAF-6685-4EC2-B938-3BF287944ED6}"/>
                  </a:ext>
                </a:extLst>
              </p:cNvPr>
              <p:cNvSpPr>
                <a:spLocks/>
              </p:cNvSpPr>
              <p:nvPr/>
            </p:nvSpPr>
            <p:spPr bwMode="auto">
              <a:xfrm>
                <a:off x="2641" y="1813"/>
                <a:ext cx="775" cy="604"/>
              </a:xfrm>
              <a:custGeom>
                <a:avLst/>
                <a:gdLst>
                  <a:gd name="T0" fmla="*/ 0 w 775"/>
                  <a:gd name="T1" fmla="*/ 604 h 604"/>
                  <a:gd name="T2" fmla="*/ 775 w 775"/>
                  <a:gd name="T3" fmla="*/ 604 h 604"/>
                  <a:gd name="T4" fmla="*/ 775 w 775"/>
                  <a:gd name="T5" fmla="*/ 0 h 604"/>
                  <a:gd name="T6" fmla="*/ 580 w 775"/>
                  <a:gd name="T7" fmla="*/ 0 h 604"/>
                  <a:gd name="T8" fmla="*/ 580 w 775"/>
                  <a:gd name="T9" fmla="*/ 0 h 604"/>
                  <a:gd name="T10" fmla="*/ 43 w 775"/>
                  <a:gd name="T11" fmla="*/ 0 h 604"/>
                  <a:gd name="T12" fmla="*/ 0 w 775"/>
                  <a:gd name="T13" fmla="*/ 604 h 604"/>
                </a:gdLst>
                <a:ahLst/>
                <a:cxnLst>
                  <a:cxn ang="0">
                    <a:pos x="T0" y="T1"/>
                  </a:cxn>
                  <a:cxn ang="0">
                    <a:pos x="T2" y="T3"/>
                  </a:cxn>
                  <a:cxn ang="0">
                    <a:pos x="T4" y="T5"/>
                  </a:cxn>
                  <a:cxn ang="0">
                    <a:pos x="T6" y="T7"/>
                  </a:cxn>
                  <a:cxn ang="0">
                    <a:pos x="T8" y="T9"/>
                  </a:cxn>
                  <a:cxn ang="0">
                    <a:pos x="T10" y="T11"/>
                  </a:cxn>
                  <a:cxn ang="0">
                    <a:pos x="T12" y="T13"/>
                  </a:cxn>
                </a:cxnLst>
                <a:rect l="0" t="0" r="r" b="b"/>
                <a:pathLst>
                  <a:path w="775" h="604">
                    <a:moveTo>
                      <a:pt x="0" y="604"/>
                    </a:moveTo>
                    <a:lnTo>
                      <a:pt x="775" y="604"/>
                    </a:lnTo>
                    <a:lnTo>
                      <a:pt x="775" y="0"/>
                    </a:lnTo>
                    <a:lnTo>
                      <a:pt x="580" y="0"/>
                    </a:lnTo>
                    <a:lnTo>
                      <a:pt x="580" y="0"/>
                    </a:lnTo>
                    <a:lnTo>
                      <a:pt x="43" y="0"/>
                    </a:lnTo>
                    <a:lnTo>
                      <a:pt x="0" y="6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8">
                <a:extLst>
                  <a:ext uri="{FF2B5EF4-FFF2-40B4-BE49-F238E27FC236}">
                    <a16:creationId xmlns:a16="http://schemas.microsoft.com/office/drawing/2014/main" id="{00F1FE8D-E472-41E9-91F4-505DA8954AF1}"/>
                  </a:ext>
                </a:extLst>
              </p:cNvPr>
              <p:cNvSpPr>
                <a:spLocks/>
              </p:cNvSpPr>
              <p:nvPr/>
            </p:nvSpPr>
            <p:spPr bwMode="auto">
              <a:xfrm>
                <a:off x="3223" y="1533"/>
                <a:ext cx="880" cy="462"/>
              </a:xfrm>
              <a:custGeom>
                <a:avLst/>
                <a:gdLst>
                  <a:gd name="T0" fmla="*/ 168 w 748"/>
                  <a:gd name="T1" fmla="*/ 230 h 393"/>
                  <a:gd name="T2" fmla="*/ 172 w 748"/>
                  <a:gd name="T3" fmla="*/ 234 h 393"/>
                  <a:gd name="T4" fmla="*/ 172 w 748"/>
                  <a:gd name="T5" fmla="*/ 389 h 393"/>
                  <a:gd name="T6" fmla="*/ 748 w 748"/>
                  <a:gd name="T7" fmla="*/ 393 h 393"/>
                  <a:gd name="T8" fmla="*/ 711 w 748"/>
                  <a:gd name="T9" fmla="*/ 296 h 393"/>
                  <a:gd name="T10" fmla="*/ 702 w 748"/>
                  <a:gd name="T11" fmla="*/ 275 h 393"/>
                  <a:gd name="T12" fmla="*/ 687 w 748"/>
                  <a:gd name="T13" fmla="*/ 233 h 393"/>
                  <a:gd name="T14" fmla="*/ 651 w 748"/>
                  <a:gd name="T15" fmla="*/ 85 h 393"/>
                  <a:gd name="T16" fmla="*/ 651 w 748"/>
                  <a:gd name="T17" fmla="*/ 84 h 393"/>
                  <a:gd name="T18" fmla="*/ 647 w 748"/>
                  <a:gd name="T19" fmla="*/ 78 h 393"/>
                  <a:gd name="T20" fmla="*/ 633 w 748"/>
                  <a:gd name="T21" fmla="*/ 71 h 393"/>
                  <a:gd name="T22" fmla="*/ 611 w 748"/>
                  <a:gd name="T23" fmla="*/ 55 h 393"/>
                  <a:gd name="T24" fmla="*/ 585 w 748"/>
                  <a:gd name="T25" fmla="*/ 37 h 393"/>
                  <a:gd name="T26" fmla="*/ 533 w 748"/>
                  <a:gd name="T27" fmla="*/ 29 h 393"/>
                  <a:gd name="T28" fmla="*/ 484 w 748"/>
                  <a:gd name="T29" fmla="*/ 13 h 393"/>
                  <a:gd name="T30" fmla="*/ 355 w 748"/>
                  <a:gd name="T31" fmla="*/ 13 h 393"/>
                  <a:gd name="T32" fmla="*/ 57 w 748"/>
                  <a:gd name="T33" fmla="*/ 6 h 393"/>
                  <a:gd name="T34" fmla="*/ 0 w 748"/>
                  <a:gd name="T35" fmla="*/ 0 h 393"/>
                  <a:gd name="T36" fmla="*/ 0 w 748"/>
                  <a:gd name="T37" fmla="*/ 5 h 393"/>
                  <a:gd name="T38" fmla="*/ 2 w 748"/>
                  <a:gd name="T39" fmla="*/ 230 h 393"/>
                  <a:gd name="T40" fmla="*/ 168 w 748"/>
                  <a:gd name="T41" fmla="*/ 23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8" h="393">
                    <a:moveTo>
                      <a:pt x="168" y="230"/>
                    </a:moveTo>
                    <a:cubicBezTo>
                      <a:pt x="171" y="230"/>
                      <a:pt x="172" y="232"/>
                      <a:pt x="172" y="234"/>
                    </a:cubicBezTo>
                    <a:cubicBezTo>
                      <a:pt x="172" y="389"/>
                      <a:pt x="172" y="389"/>
                      <a:pt x="172" y="389"/>
                    </a:cubicBezTo>
                    <a:cubicBezTo>
                      <a:pt x="223" y="389"/>
                      <a:pt x="669" y="386"/>
                      <a:pt x="748" y="393"/>
                    </a:cubicBezTo>
                    <a:cubicBezTo>
                      <a:pt x="741" y="374"/>
                      <a:pt x="719" y="316"/>
                      <a:pt x="711" y="296"/>
                    </a:cubicBezTo>
                    <a:cubicBezTo>
                      <a:pt x="708" y="288"/>
                      <a:pt x="705" y="281"/>
                      <a:pt x="702" y="275"/>
                    </a:cubicBezTo>
                    <a:cubicBezTo>
                      <a:pt x="696" y="261"/>
                      <a:pt x="690" y="249"/>
                      <a:pt x="687" y="233"/>
                    </a:cubicBezTo>
                    <a:cubicBezTo>
                      <a:pt x="676" y="172"/>
                      <a:pt x="661" y="107"/>
                      <a:pt x="651" y="85"/>
                    </a:cubicBezTo>
                    <a:cubicBezTo>
                      <a:pt x="651" y="85"/>
                      <a:pt x="651" y="85"/>
                      <a:pt x="651" y="84"/>
                    </a:cubicBezTo>
                    <a:cubicBezTo>
                      <a:pt x="649" y="81"/>
                      <a:pt x="648" y="79"/>
                      <a:pt x="647" y="78"/>
                    </a:cubicBezTo>
                    <a:cubicBezTo>
                      <a:pt x="642" y="75"/>
                      <a:pt x="637" y="73"/>
                      <a:pt x="633" y="71"/>
                    </a:cubicBezTo>
                    <a:cubicBezTo>
                      <a:pt x="625" y="67"/>
                      <a:pt x="617" y="64"/>
                      <a:pt x="611" y="55"/>
                    </a:cubicBezTo>
                    <a:cubicBezTo>
                      <a:pt x="601" y="42"/>
                      <a:pt x="596" y="36"/>
                      <a:pt x="585" y="37"/>
                    </a:cubicBezTo>
                    <a:cubicBezTo>
                      <a:pt x="583" y="37"/>
                      <a:pt x="543" y="41"/>
                      <a:pt x="533" y="29"/>
                    </a:cubicBezTo>
                    <a:cubicBezTo>
                      <a:pt x="527" y="22"/>
                      <a:pt x="497" y="13"/>
                      <a:pt x="484" y="13"/>
                    </a:cubicBezTo>
                    <a:cubicBezTo>
                      <a:pt x="355" y="13"/>
                      <a:pt x="355" y="13"/>
                      <a:pt x="355" y="13"/>
                    </a:cubicBezTo>
                    <a:cubicBezTo>
                      <a:pt x="352" y="13"/>
                      <a:pt x="61" y="6"/>
                      <a:pt x="57" y="6"/>
                    </a:cubicBezTo>
                    <a:cubicBezTo>
                      <a:pt x="54" y="6"/>
                      <a:pt x="14" y="2"/>
                      <a:pt x="0" y="0"/>
                    </a:cubicBezTo>
                    <a:cubicBezTo>
                      <a:pt x="0" y="5"/>
                      <a:pt x="0" y="5"/>
                      <a:pt x="0" y="5"/>
                    </a:cubicBezTo>
                    <a:cubicBezTo>
                      <a:pt x="2" y="230"/>
                      <a:pt x="2" y="230"/>
                      <a:pt x="2" y="230"/>
                    </a:cubicBezTo>
                    <a:lnTo>
                      <a:pt x="168" y="230"/>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79">
                <a:extLst>
                  <a:ext uri="{FF2B5EF4-FFF2-40B4-BE49-F238E27FC236}">
                    <a16:creationId xmlns:a16="http://schemas.microsoft.com/office/drawing/2014/main" id="{57A7BFE5-B2DC-436A-B974-BF0C823B4CF8}"/>
                  </a:ext>
                </a:extLst>
              </p:cNvPr>
              <p:cNvSpPr>
                <a:spLocks/>
              </p:cNvSpPr>
              <p:nvPr/>
            </p:nvSpPr>
            <p:spPr bwMode="auto">
              <a:xfrm>
                <a:off x="3223" y="1134"/>
                <a:ext cx="763" cy="482"/>
              </a:xfrm>
              <a:custGeom>
                <a:avLst/>
                <a:gdLst>
                  <a:gd name="T0" fmla="*/ 57 w 649"/>
                  <a:gd name="T1" fmla="*/ 337 h 410"/>
                  <a:gd name="T2" fmla="*/ 356 w 649"/>
                  <a:gd name="T3" fmla="*/ 344 h 410"/>
                  <a:gd name="T4" fmla="*/ 484 w 649"/>
                  <a:gd name="T5" fmla="*/ 344 h 410"/>
                  <a:gd name="T6" fmla="*/ 539 w 649"/>
                  <a:gd name="T7" fmla="*/ 362 h 410"/>
                  <a:gd name="T8" fmla="*/ 584 w 649"/>
                  <a:gd name="T9" fmla="*/ 368 h 410"/>
                  <a:gd name="T10" fmla="*/ 617 w 649"/>
                  <a:gd name="T11" fmla="*/ 389 h 410"/>
                  <a:gd name="T12" fmla="*/ 636 w 649"/>
                  <a:gd name="T13" fmla="*/ 403 h 410"/>
                  <a:gd name="T14" fmla="*/ 649 w 649"/>
                  <a:gd name="T15" fmla="*/ 410 h 410"/>
                  <a:gd name="T16" fmla="*/ 644 w 649"/>
                  <a:gd name="T17" fmla="*/ 391 h 410"/>
                  <a:gd name="T18" fmla="*/ 635 w 649"/>
                  <a:gd name="T19" fmla="*/ 367 h 410"/>
                  <a:gd name="T20" fmla="*/ 636 w 649"/>
                  <a:gd name="T21" fmla="*/ 362 h 410"/>
                  <a:gd name="T22" fmla="*/ 633 w 649"/>
                  <a:gd name="T23" fmla="*/ 335 h 410"/>
                  <a:gd name="T24" fmla="*/ 622 w 649"/>
                  <a:gd name="T25" fmla="*/ 334 h 410"/>
                  <a:gd name="T26" fmla="*/ 605 w 649"/>
                  <a:gd name="T27" fmla="*/ 321 h 410"/>
                  <a:gd name="T28" fmla="*/ 605 w 649"/>
                  <a:gd name="T29" fmla="*/ 292 h 410"/>
                  <a:gd name="T30" fmla="*/ 609 w 649"/>
                  <a:gd name="T31" fmla="*/ 288 h 410"/>
                  <a:gd name="T32" fmla="*/ 614 w 649"/>
                  <a:gd name="T33" fmla="*/ 288 h 410"/>
                  <a:gd name="T34" fmla="*/ 614 w 649"/>
                  <a:gd name="T35" fmla="*/ 67 h 410"/>
                  <a:gd name="T36" fmla="*/ 603 w 649"/>
                  <a:gd name="T37" fmla="*/ 47 h 410"/>
                  <a:gd name="T38" fmla="*/ 597 w 649"/>
                  <a:gd name="T39" fmla="*/ 40 h 410"/>
                  <a:gd name="T40" fmla="*/ 594 w 649"/>
                  <a:gd name="T41" fmla="*/ 28 h 410"/>
                  <a:gd name="T42" fmla="*/ 602 w 649"/>
                  <a:gd name="T43" fmla="*/ 18 h 410"/>
                  <a:gd name="T44" fmla="*/ 610 w 649"/>
                  <a:gd name="T45" fmla="*/ 0 h 410"/>
                  <a:gd name="T46" fmla="*/ 3 w 649"/>
                  <a:gd name="T47" fmla="*/ 0 h 410"/>
                  <a:gd name="T48" fmla="*/ 3 w 649"/>
                  <a:gd name="T49" fmla="*/ 69 h 410"/>
                  <a:gd name="T50" fmla="*/ 3 w 649"/>
                  <a:gd name="T51" fmla="*/ 69 h 410"/>
                  <a:gd name="T52" fmla="*/ 3 w 649"/>
                  <a:gd name="T53" fmla="*/ 69 h 410"/>
                  <a:gd name="T54" fmla="*/ 0 w 649"/>
                  <a:gd name="T55" fmla="*/ 331 h 410"/>
                  <a:gd name="T56" fmla="*/ 57 w 649"/>
                  <a:gd name="T57" fmla="*/ 33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9" h="410">
                    <a:moveTo>
                      <a:pt x="57" y="337"/>
                    </a:moveTo>
                    <a:cubicBezTo>
                      <a:pt x="61" y="337"/>
                      <a:pt x="344" y="343"/>
                      <a:pt x="356" y="344"/>
                    </a:cubicBezTo>
                    <a:cubicBezTo>
                      <a:pt x="484" y="344"/>
                      <a:pt x="484" y="344"/>
                      <a:pt x="484" y="344"/>
                    </a:cubicBezTo>
                    <a:cubicBezTo>
                      <a:pt x="498" y="344"/>
                      <a:pt x="531" y="353"/>
                      <a:pt x="539" y="362"/>
                    </a:cubicBezTo>
                    <a:cubicBezTo>
                      <a:pt x="543" y="368"/>
                      <a:pt x="566" y="370"/>
                      <a:pt x="584" y="368"/>
                    </a:cubicBezTo>
                    <a:cubicBezTo>
                      <a:pt x="601" y="366"/>
                      <a:pt x="609" y="378"/>
                      <a:pt x="617" y="389"/>
                    </a:cubicBezTo>
                    <a:cubicBezTo>
                      <a:pt x="623" y="396"/>
                      <a:pt x="629" y="399"/>
                      <a:pt x="636" y="403"/>
                    </a:cubicBezTo>
                    <a:cubicBezTo>
                      <a:pt x="640" y="405"/>
                      <a:pt x="645" y="407"/>
                      <a:pt x="649" y="410"/>
                    </a:cubicBezTo>
                    <a:cubicBezTo>
                      <a:pt x="648" y="400"/>
                      <a:pt x="646" y="392"/>
                      <a:pt x="644" y="391"/>
                    </a:cubicBezTo>
                    <a:cubicBezTo>
                      <a:pt x="634" y="385"/>
                      <a:pt x="634" y="376"/>
                      <a:pt x="635" y="367"/>
                    </a:cubicBezTo>
                    <a:cubicBezTo>
                      <a:pt x="635" y="366"/>
                      <a:pt x="635" y="364"/>
                      <a:pt x="636" y="362"/>
                    </a:cubicBezTo>
                    <a:cubicBezTo>
                      <a:pt x="637" y="354"/>
                      <a:pt x="639" y="337"/>
                      <a:pt x="633" y="335"/>
                    </a:cubicBezTo>
                    <a:cubicBezTo>
                      <a:pt x="629" y="334"/>
                      <a:pt x="626" y="334"/>
                      <a:pt x="622" y="334"/>
                    </a:cubicBezTo>
                    <a:cubicBezTo>
                      <a:pt x="615" y="333"/>
                      <a:pt x="606" y="333"/>
                      <a:pt x="605" y="321"/>
                    </a:cubicBezTo>
                    <a:cubicBezTo>
                      <a:pt x="605" y="309"/>
                      <a:pt x="605" y="292"/>
                      <a:pt x="605" y="292"/>
                    </a:cubicBezTo>
                    <a:cubicBezTo>
                      <a:pt x="605" y="289"/>
                      <a:pt x="607" y="288"/>
                      <a:pt x="609" y="288"/>
                    </a:cubicBezTo>
                    <a:cubicBezTo>
                      <a:pt x="614" y="288"/>
                      <a:pt x="614" y="288"/>
                      <a:pt x="614" y="288"/>
                    </a:cubicBezTo>
                    <a:cubicBezTo>
                      <a:pt x="614" y="67"/>
                      <a:pt x="614" y="67"/>
                      <a:pt x="614" y="67"/>
                    </a:cubicBezTo>
                    <a:cubicBezTo>
                      <a:pt x="614" y="55"/>
                      <a:pt x="609" y="51"/>
                      <a:pt x="603" y="47"/>
                    </a:cubicBezTo>
                    <a:cubicBezTo>
                      <a:pt x="601" y="45"/>
                      <a:pt x="599" y="43"/>
                      <a:pt x="597" y="40"/>
                    </a:cubicBezTo>
                    <a:cubicBezTo>
                      <a:pt x="594" y="36"/>
                      <a:pt x="593" y="31"/>
                      <a:pt x="594" y="28"/>
                    </a:cubicBezTo>
                    <a:cubicBezTo>
                      <a:pt x="595" y="24"/>
                      <a:pt x="597" y="21"/>
                      <a:pt x="602" y="18"/>
                    </a:cubicBezTo>
                    <a:cubicBezTo>
                      <a:pt x="607" y="16"/>
                      <a:pt x="609" y="8"/>
                      <a:pt x="610" y="0"/>
                    </a:cubicBezTo>
                    <a:cubicBezTo>
                      <a:pt x="3" y="0"/>
                      <a:pt x="3" y="0"/>
                      <a:pt x="3" y="0"/>
                    </a:cubicBezTo>
                    <a:cubicBezTo>
                      <a:pt x="3" y="69"/>
                      <a:pt x="3" y="69"/>
                      <a:pt x="3" y="69"/>
                    </a:cubicBezTo>
                    <a:cubicBezTo>
                      <a:pt x="3" y="69"/>
                      <a:pt x="3" y="69"/>
                      <a:pt x="3" y="69"/>
                    </a:cubicBezTo>
                    <a:cubicBezTo>
                      <a:pt x="3" y="69"/>
                      <a:pt x="3" y="69"/>
                      <a:pt x="3" y="69"/>
                    </a:cubicBezTo>
                    <a:cubicBezTo>
                      <a:pt x="0" y="331"/>
                      <a:pt x="0" y="331"/>
                      <a:pt x="0" y="331"/>
                    </a:cubicBezTo>
                    <a:cubicBezTo>
                      <a:pt x="23" y="333"/>
                      <a:pt x="55" y="337"/>
                      <a:pt x="57" y="3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0">
                <a:extLst>
                  <a:ext uri="{FF2B5EF4-FFF2-40B4-BE49-F238E27FC236}">
                    <a16:creationId xmlns:a16="http://schemas.microsoft.com/office/drawing/2014/main" id="{8AA54AA4-5139-4147-B2B1-5B71CFA1E40E}"/>
                  </a:ext>
                </a:extLst>
              </p:cNvPr>
              <p:cNvSpPr>
                <a:spLocks/>
              </p:cNvSpPr>
              <p:nvPr/>
            </p:nvSpPr>
            <p:spPr bwMode="auto">
              <a:xfrm>
                <a:off x="5628" y="1326"/>
                <a:ext cx="616" cy="447"/>
              </a:xfrm>
              <a:custGeom>
                <a:avLst/>
                <a:gdLst>
                  <a:gd name="T0" fmla="*/ 5 w 524"/>
                  <a:gd name="T1" fmla="*/ 147 h 380"/>
                  <a:gd name="T2" fmla="*/ 10 w 524"/>
                  <a:gd name="T3" fmla="*/ 182 h 380"/>
                  <a:gd name="T4" fmla="*/ 21 w 524"/>
                  <a:gd name="T5" fmla="*/ 255 h 380"/>
                  <a:gd name="T6" fmla="*/ 21 w 524"/>
                  <a:gd name="T7" fmla="*/ 265 h 380"/>
                  <a:gd name="T8" fmla="*/ 60 w 524"/>
                  <a:gd name="T9" fmla="*/ 364 h 380"/>
                  <a:gd name="T10" fmla="*/ 114 w 524"/>
                  <a:gd name="T11" fmla="*/ 348 h 380"/>
                  <a:gd name="T12" fmla="*/ 150 w 524"/>
                  <a:gd name="T13" fmla="*/ 343 h 380"/>
                  <a:gd name="T14" fmla="*/ 172 w 524"/>
                  <a:gd name="T15" fmla="*/ 379 h 380"/>
                  <a:gd name="T16" fmla="*/ 196 w 524"/>
                  <a:gd name="T17" fmla="*/ 363 h 380"/>
                  <a:gd name="T18" fmla="*/ 243 w 524"/>
                  <a:gd name="T19" fmla="*/ 315 h 380"/>
                  <a:gd name="T20" fmla="*/ 445 w 524"/>
                  <a:gd name="T21" fmla="*/ 260 h 380"/>
                  <a:gd name="T22" fmla="*/ 465 w 524"/>
                  <a:gd name="T23" fmla="*/ 237 h 380"/>
                  <a:gd name="T24" fmla="*/ 467 w 524"/>
                  <a:gd name="T25" fmla="*/ 235 h 380"/>
                  <a:gd name="T26" fmla="*/ 491 w 524"/>
                  <a:gd name="T27" fmla="*/ 232 h 380"/>
                  <a:gd name="T28" fmla="*/ 502 w 524"/>
                  <a:gd name="T29" fmla="*/ 229 h 380"/>
                  <a:gd name="T30" fmla="*/ 519 w 524"/>
                  <a:gd name="T31" fmla="*/ 202 h 380"/>
                  <a:gd name="T32" fmla="*/ 524 w 524"/>
                  <a:gd name="T33" fmla="*/ 186 h 380"/>
                  <a:gd name="T34" fmla="*/ 486 w 524"/>
                  <a:gd name="T35" fmla="*/ 156 h 380"/>
                  <a:gd name="T36" fmla="*/ 474 w 524"/>
                  <a:gd name="T37" fmla="*/ 141 h 380"/>
                  <a:gd name="T38" fmla="*/ 482 w 524"/>
                  <a:gd name="T39" fmla="*/ 121 h 380"/>
                  <a:gd name="T40" fmla="*/ 479 w 524"/>
                  <a:gd name="T41" fmla="*/ 116 h 380"/>
                  <a:gd name="T42" fmla="*/ 482 w 524"/>
                  <a:gd name="T43" fmla="*/ 82 h 380"/>
                  <a:gd name="T44" fmla="*/ 483 w 524"/>
                  <a:gd name="T45" fmla="*/ 62 h 380"/>
                  <a:gd name="T46" fmla="*/ 488 w 524"/>
                  <a:gd name="T47" fmla="*/ 49 h 380"/>
                  <a:gd name="T48" fmla="*/ 491 w 524"/>
                  <a:gd name="T49" fmla="*/ 43 h 380"/>
                  <a:gd name="T50" fmla="*/ 449 w 524"/>
                  <a:gd name="T51" fmla="*/ 16 h 380"/>
                  <a:gd name="T52" fmla="*/ 365 w 524"/>
                  <a:gd name="T53" fmla="*/ 14 h 380"/>
                  <a:gd name="T54" fmla="*/ 292 w 524"/>
                  <a:gd name="T55" fmla="*/ 31 h 380"/>
                  <a:gd name="T56" fmla="*/ 118 w 524"/>
                  <a:gd name="T57" fmla="*/ 81 h 380"/>
                  <a:gd name="T58" fmla="*/ 49 w 524"/>
                  <a:gd name="T59" fmla="*/ 95 h 380"/>
                  <a:gd name="T60" fmla="*/ 27 w 524"/>
                  <a:gd name="T61" fmla="*/ 84 h 380"/>
                  <a:gd name="T62" fmla="*/ 0 w 524"/>
                  <a:gd name="T63" fmla="*/ 12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4" h="380">
                    <a:moveTo>
                      <a:pt x="1" y="122"/>
                    </a:moveTo>
                    <a:cubicBezTo>
                      <a:pt x="1" y="128"/>
                      <a:pt x="3" y="142"/>
                      <a:pt x="5" y="147"/>
                    </a:cubicBezTo>
                    <a:cubicBezTo>
                      <a:pt x="7" y="154"/>
                      <a:pt x="8" y="159"/>
                      <a:pt x="10" y="169"/>
                    </a:cubicBezTo>
                    <a:cubicBezTo>
                      <a:pt x="10" y="173"/>
                      <a:pt x="10" y="178"/>
                      <a:pt x="10" y="182"/>
                    </a:cubicBezTo>
                    <a:cubicBezTo>
                      <a:pt x="11" y="186"/>
                      <a:pt x="11" y="189"/>
                      <a:pt x="11" y="191"/>
                    </a:cubicBezTo>
                    <a:cubicBezTo>
                      <a:pt x="12" y="196"/>
                      <a:pt x="21" y="245"/>
                      <a:pt x="21" y="255"/>
                    </a:cubicBezTo>
                    <a:cubicBezTo>
                      <a:pt x="21" y="259"/>
                      <a:pt x="21" y="259"/>
                      <a:pt x="21" y="259"/>
                    </a:cubicBezTo>
                    <a:cubicBezTo>
                      <a:pt x="21" y="261"/>
                      <a:pt x="21" y="263"/>
                      <a:pt x="21" y="265"/>
                    </a:cubicBezTo>
                    <a:cubicBezTo>
                      <a:pt x="22" y="270"/>
                      <a:pt x="33" y="313"/>
                      <a:pt x="34" y="334"/>
                    </a:cubicBezTo>
                    <a:cubicBezTo>
                      <a:pt x="36" y="354"/>
                      <a:pt x="49" y="364"/>
                      <a:pt x="60" y="364"/>
                    </a:cubicBezTo>
                    <a:cubicBezTo>
                      <a:pt x="67" y="364"/>
                      <a:pt x="77" y="360"/>
                      <a:pt x="87" y="356"/>
                    </a:cubicBezTo>
                    <a:cubicBezTo>
                      <a:pt x="96" y="353"/>
                      <a:pt x="105" y="349"/>
                      <a:pt x="114" y="348"/>
                    </a:cubicBezTo>
                    <a:cubicBezTo>
                      <a:pt x="117" y="347"/>
                      <a:pt x="121" y="346"/>
                      <a:pt x="124" y="345"/>
                    </a:cubicBezTo>
                    <a:cubicBezTo>
                      <a:pt x="133" y="342"/>
                      <a:pt x="142" y="339"/>
                      <a:pt x="150" y="343"/>
                    </a:cubicBezTo>
                    <a:cubicBezTo>
                      <a:pt x="156" y="346"/>
                      <a:pt x="161" y="354"/>
                      <a:pt x="164" y="365"/>
                    </a:cubicBezTo>
                    <a:cubicBezTo>
                      <a:pt x="166" y="373"/>
                      <a:pt x="168" y="378"/>
                      <a:pt x="172" y="379"/>
                    </a:cubicBezTo>
                    <a:cubicBezTo>
                      <a:pt x="177" y="380"/>
                      <a:pt x="186" y="372"/>
                      <a:pt x="191" y="367"/>
                    </a:cubicBezTo>
                    <a:cubicBezTo>
                      <a:pt x="193" y="366"/>
                      <a:pt x="194" y="364"/>
                      <a:pt x="196" y="363"/>
                    </a:cubicBezTo>
                    <a:cubicBezTo>
                      <a:pt x="199" y="361"/>
                      <a:pt x="203" y="355"/>
                      <a:pt x="208" y="349"/>
                    </a:cubicBezTo>
                    <a:cubicBezTo>
                      <a:pt x="218" y="337"/>
                      <a:pt x="230" y="321"/>
                      <a:pt x="243" y="315"/>
                    </a:cubicBezTo>
                    <a:cubicBezTo>
                      <a:pt x="262" y="305"/>
                      <a:pt x="370" y="277"/>
                      <a:pt x="383" y="275"/>
                    </a:cubicBezTo>
                    <a:cubicBezTo>
                      <a:pt x="401" y="272"/>
                      <a:pt x="435" y="266"/>
                      <a:pt x="445" y="260"/>
                    </a:cubicBezTo>
                    <a:cubicBezTo>
                      <a:pt x="452" y="257"/>
                      <a:pt x="455" y="252"/>
                      <a:pt x="458" y="247"/>
                    </a:cubicBezTo>
                    <a:cubicBezTo>
                      <a:pt x="460" y="244"/>
                      <a:pt x="462" y="240"/>
                      <a:pt x="465" y="237"/>
                    </a:cubicBezTo>
                    <a:cubicBezTo>
                      <a:pt x="465" y="237"/>
                      <a:pt x="466" y="236"/>
                      <a:pt x="467" y="235"/>
                    </a:cubicBezTo>
                    <a:cubicBezTo>
                      <a:pt x="467" y="235"/>
                      <a:pt x="467" y="235"/>
                      <a:pt x="467" y="235"/>
                    </a:cubicBezTo>
                    <a:cubicBezTo>
                      <a:pt x="470" y="234"/>
                      <a:pt x="472" y="233"/>
                      <a:pt x="476" y="232"/>
                    </a:cubicBezTo>
                    <a:cubicBezTo>
                      <a:pt x="481" y="231"/>
                      <a:pt x="486" y="232"/>
                      <a:pt x="491" y="232"/>
                    </a:cubicBezTo>
                    <a:cubicBezTo>
                      <a:pt x="492" y="233"/>
                      <a:pt x="494" y="233"/>
                      <a:pt x="495" y="233"/>
                    </a:cubicBezTo>
                    <a:cubicBezTo>
                      <a:pt x="497" y="233"/>
                      <a:pt x="500" y="231"/>
                      <a:pt x="502" y="229"/>
                    </a:cubicBezTo>
                    <a:cubicBezTo>
                      <a:pt x="503" y="228"/>
                      <a:pt x="505" y="225"/>
                      <a:pt x="505" y="222"/>
                    </a:cubicBezTo>
                    <a:cubicBezTo>
                      <a:pt x="504" y="211"/>
                      <a:pt x="511" y="204"/>
                      <a:pt x="519" y="202"/>
                    </a:cubicBezTo>
                    <a:cubicBezTo>
                      <a:pt x="521" y="201"/>
                      <a:pt x="522" y="196"/>
                      <a:pt x="523" y="191"/>
                    </a:cubicBezTo>
                    <a:cubicBezTo>
                      <a:pt x="523" y="189"/>
                      <a:pt x="523" y="188"/>
                      <a:pt x="524" y="186"/>
                    </a:cubicBezTo>
                    <a:cubicBezTo>
                      <a:pt x="524" y="183"/>
                      <a:pt x="511" y="175"/>
                      <a:pt x="503" y="172"/>
                    </a:cubicBezTo>
                    <a:cubicBezTo>
                      <a:pt x="499" y="171"/>
                      <a:pt x="493" y="165"/>
                      <a:pt x="486" y="156"/>
                    </a:cubicBezTo>
                    <a:cubicBezTo>
                      <a:pt x="483" y="152"/>
                      <a:pt x="480" y="149"/>
                      <a:pt x="478" y="148"/>
                    </a:cubicBezTo>
                    <a:cubicBezTo>
                      <a:pt x="476" y="146"/>
                      <a:pt x="474" y="144"/>
                      <a:pt x="474" y="141"/>
                    </a:cubicBezTo>
                    <a:cubicBezTo>
                      <a:pt x="474" y="136"/>
                      <a:pt x="477" y="131"/>
                      <a:pt x="480" y="128"/>
                    </a:cubicBezTo>
                    <a:cubicBezTo>
                      <a:pt x="481" y="127"/>
                      <a:pt x="482" y="124"/>
                      <a:pt x="482" y="121"/>
                    </a:cubicBezTo>
                    <a:cubicBezTo>
                      <a:pt x="482" y="120"/>
                      <a:pt x="481" y="119"/>
                      <a:pt x="481" y="118"/>
                    </a:cubicBezTo>
                    <a:cubicBezTo>
                      <a:pt x="480" y="118"/>
                      <a:pt x="479" y="117"/>
                      <a:pt x="479" y="116"/>
                    </a:cubicBezTo>
                    <a:cubicBezTo>
                      <a:pt x="474" y="113"/>
                      <a:pt x="467" y="107"/>
                      <a:pt x="468" y="100"/>
                    </a:cubicBezTo>
                    <a:cubicBezTo>
                      <a:pt x="469" y="92"/>
                      <a:pt x="476" y="87"/>
                      <a:pt x="482" y="82"/>
                    </a:cubicBezTo>
                    <a:cubicBezTo>
                      <a:pt x="484" y="81"/>
                      <a:pt x="484" y="73"/>
                      <a:pt x="484" y="66"/>
                    </a:cubicBezTo>
                    <a:cubicBezTo>
                      <a:pt x="483" y="65"/>
                      <a:pt x="483" y="64"/>
                      <a:pt x="483" y="62"/>
                    </a:cubicBezTo>
                    <a:cubicBezTo>
                      <a:pt x="483" y="62"/>
                      <a:pt x="483" y="61"/>
                      <a:pt x="483" y="60"/>
                    </a:cubicBezTo>
                    <a:cubicBezTo>
                      <a:pt x="483" y="57"/>
                      <a:pt x="482" y="51"/>
                      <a:pt x="488" y="49"/>
                    </a:cubicBezTo>
                    <a:cubicBezTo>
                      <a:pt x="490" y="48"/>
                      <a:pt x="492" y="46"/>
                      <a:pt x="492" y="45"/>
                    </a:cubicBezTo>
                    <a:cubicBezTo>
                      <a:pt x="492" y="45"/>
                      <a:pt x="492" y="44"/>
                      <a:pt x="491" y="43"/>
                    </a:cubicBezTo>
                    <a:cubicBezTo>
                      <a:pt x="489" y="40"/>
                      <a:pt x="480" y="38"/>
                      <a:pt x="472" y="38"/>
                    </a:cubicBezTo>
                    <a:cubicBezTo>
                      <a:pt x="466" y="38"/>
                      <a:pt x="449" y="24"/>
                      <a:pt x="449" y="16"/>
                    </a:cubicBezTo>
                    <a:cubicBezTo>
                      <a:pt x="447" y="13"/>
                      <a:pt x="432" y="0"/>
                      <a:pt x="420" y="0"/>
                    </a:cubicBezTo>
                    <a:cubicBezTo>
                      <a:pt x="411" y="0"/>
                      <a:pt x="379" y="10"/>
                      <a:pt x="365" y="14"/>
                    </a:cubicBezTo>
                    <a:cubicBezTo>
                      <a:pt x="359" y="16"/>
                      <a:pt x="357" y="16"/>
                      <a:pt x="356" y="16"/>
                    </a:cubicBezTo>
                    <a:cubicBezTo>
                      <a:pt x="351" y="17"/>
                      <a:pt x="299" y="28"/>
                      <a:pt x="292" y="31"/>
                    </a:cubicBezTo>
                    <a:cubicBezTo>
                      <a:pt x="288" y="33"/>
                      <a:pt x="257" y="42"/>
                      <a:pt x="207" y="56"/>
                    </a:cubicBezTo>
                    <a:cubicBezTo>
                      <a:pt x="168" y="66"/>
                      <a:pt x="123" y="79"/>
                      <a:pt x="118" y="81"/>
                    </a:cubicBezTo>
                    <a:cubicBezTo>
                      <a:pt x="114" y="83"/>
                      <a:pt x="71" y="97"/>
                      <a:pt x="55" y="97"/>
                    </a:cubicBezTo>
                    <a:cubicBezTo>
                      <a:pt x="52" y="97"/>
                      <a:pt x="50" y="96"/>
                      <a:pt x="49" y="95"/>
                    </a:cubicBezTo>
                    <a:cubicBezTo>
                      <a:pt x="45" y="91"/>
                      <a:pt x="43" y="76"/>
                      <a:pt x="43" y="70"/>
                    </a:cubicBezTo>
                    <a:cubicBezTo>
                      <a:pt x="37" y="75"/>
                      <a:pt x="31" y="80"/>
                      <a:pt x="27" y="84"/>
                    </a:cubicBezTo>
                    <a:cubicBezTo>
                      <a:pt x="20" y="88"/>
                      <a:pt x="11" y="96"/>
                      <a:pt x="0" y="105"/>
                    </a:cubicBezTo>
                    <a:cubicBezTo>
                      <a:pt x="0" y="109"/>
                      <a:pt x="0" y="117"/>
                      <a:pt x="0" y="120"/>
                    </a:cubicBezTo>
                    <a:lnTo>
                      <a:pt x="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81">
                <a:extLst>
                  <a:ext uri="{FF2B5EF4-FFF2-40B4-BE49-F238E27FC236}">
                    <a16:creationId xmlns:a16="http://schemas.microsoft.com/office/drawing/2014/main" id="{6F8A4CA8-ED5B-49A4-A20F-2F22A92F0AC9}"/>
                  </a:ext>
                </a:extLst>
              </p:cNvPr>
              <p:cNvSpPr>
                <a:spLocks/>
              </p:cNvSpPr>
              <p:nvPr/>
            </p:nvSpPr>
            <p:spPr bwMode="auto">
              <a:xfrm>
                <a:off x="4711" y="2259"/>
                <a:ext cx="952" cy="379"/>
              </a:xfrm>
              <a:custGeom>
                <a:avLst/>
                <a:gdLst>
                  <a:gd name="T0" fmla="*/ 752 w 810"/>
                  <a:gd name="T1" fmla="*/ 61 h 322"/>
                  <a:gd name="T2" fmla="*/ 762 w 810"/>
                  <a:gd name="T3" fmla="*/ 61 h 322"/>
                  <a:gd name="T4" fmla="*/ 771 w 810"/>
                  <a:gd name="T5" fmla="*/ 54 h 322"/>
                  <a:gd name="T6" fmla="*/ 786 w 810"/>
                  <a:gd name="T7" fmla="*/ 38 h 322"/>
                  <a:gd name="T8" fmla="*/ 800 w 810"/>
                  <a:gd name="T9" fmla="*/ 30 h 322"/>
                  <a:gd name="T10" fmla="*/ 806 w 810"/>
                  <a:gd name="T11" fmla="*/ 0 h 322"/>
                  <a:gd name="T12" fmla="*/ 805 w 810"/>
                  <a:gd name="T13" fmla="*/ 0 h 322"/>
                  <a:gd name="T14" fmla="*/ 662 w 810"/>
                  <a:gd name="T15" fmla="*/ 29 h 322"/>
                  <a:gd name="T16" fmla="*/ 471 w 810"/>
                  <a:gd name="T17" fmla="*/ 57 h 322"/>
                  <a:gd name="T18" fmla="*/ 316 w 810"/>
                  <a:gd name="T19" fmla="*/ 79 h 322"/>
                  <a:gd name="T20" fmla="*/ 249 w 810"/>
                  <a:gd name="T21" fmla="*/ 91 h 322"/>
                  <a:gd name="T22" fmla="*/ 239 w 810"/>
                  <a:gd name="T23" fmla="*/ 93 h 322"/>
                  <a:gd name="T24" fmla="*/ 208 w 810"/>
                  <a:gd name="T25" fmla="*/ 99 h 322"/>
                  <a:gd name="T26" fmla="*/ 209 w 810"/>
                  <a:gd name="T27" fmla="*/ 113 h 322"/>
                  <a:gd name="T28" fmla="*/ 206 w 810"/>
                  <a:gd name="T29" fmla="*/ 118 h 322"/>
                  <a:gd name="T30" fmla="*/ 192 w 810"/>
                  <a:gd name="T31" fmla="*/ 121 h 322"/>
                  <a:gd name="T32" fmla="*/ 66 w 810"/>
                  <a:gd name="T33" fmla="*/ 142 h 322"/>
                  <a:gd name="T34" fmla="*/ 58 w 810"/>
                  <a:gd name="T35" fmla="*/ 148 h 322"/>
                  <a:gd name="T36" fmla="*/ 47 w 810"/>
                  <a:gd name="T37" fmla="*/ 160 h 322"/>
                  <a:gd name="T38" fmla="*/ 23 w 810"/>
                  <a:gd name="T39" fmla="*/ 212 h 322"/>
                  <a:gd name="T40" fmla="*/ 24 w 810"/>
                  <a:gd name="T41" fmla="*/ 218 h 322"/>
                  <a:gd name="T42" fmla="*/ 28 w 810"/>
                  <a:gd name="T43" fmla="*/ 251 h 322"/>
                  <a:gd name="T44" fmla="*/ 7 w 810"/>
                  <a:gd name="T45" fmla="*/ 303 h 322"/>
                  <a:gd name="T46" fmla="*/ 2 w 810"/>
                  <a:gd name="T47" fmla="*/ 313 h 322"/>
                  <a:gd name="T48" fmla="*/ 0 w 810"/>
                  <a:gd name="T49" fmla="*/ 318 h 322"/>
                  <a:gd name="T50" fmla="*/ 193 w 810"/>
                  <a:gd name="T51" fmla="*/ 317 h 322"/>
                  <a:gd name="T52" fmla="*/ 376 w 810"/>
                  <a:gd name="T53" fmla="*/ 289 h 322"/>
                  <a:gd name="T54" fmla="*/ 382 w 810"/>
                  <a:gd name="T55" fmla="*/ 288 h 322"/>
                  <a:gd name="T56" fmla="*/ 424 w 810"/>
                  <a:gd name="T57" fmla="*/ 280 h 322"/>
                  <a:gd name="T58" fmla="*/ 571 w 810"/>
                  <a:gd name="T59" fmla="*/ 255 h 322"/>
                  <a:gd name="T60" fmla="*/ 571 w 810"/>
                  <a:gd name="T61" fmla="*/ 251 h 322"/>
                  <a:gd name="T62" fmla="*/ 570 w 810"/>
                  <a:gd name="T63" fmla="*/ 236 h 322"/>
                  <a:gd name="T64" fmla="*/ 589 w 810"/>
                  <a:gd name="T65" fmla="*/ 221 h 322"/>
                  <a:gd name="T66" fmla="*/ 597 w 810"/>
                  <a:gd name="T67" fmla="*/ 218 h 322"/>
                  <a:gd name="T68" fmla="*/ 598 w 810"/>
                  <a:gd name="T69" fmla="*/ 217 h 322"/>
                  <a:gd name="T70" fmla="*/ 596 w 810"/>
                  <a:gd name="T71" fmla="*/ 213 h 322"/>
                  <a:gd name="T72" fmla="*/ 589 w 810"/>
                  <a:gd name="T73" fmla="*/ 197 h 322"/>
                  <a:gd name="T74" fmla="*/ 590 w 810"/>
                  <a:gd name="T75" fmla="*/ 186 h 322"/>
                  <a:gd name="T76" fmla="*/ 604 w 810"/>
                  <a:gd name="T77" fmla="*/ 181 h 322"/>
                  <a:gd name="T78" fmla="*/ 611 w 810"/>
                  <a:gd name="T79" fmla="*/ 179 h 322"/>
                  <a:gd name="T80" fmla="*/ 642 w 810"/>
                  <a:gd name="T81" fmla="*/ 172 h 322"/>
                  <a:gd name="T82" fmla="*/ 655 w 810"/>
                  <a:gd name="T83" fmla="*/ 171 h 322"/>
                  <a:gd name="T84" fmla="*/ 663 w 810"/>
                  <a:gd name="T85" fmla="*/ 164 h 322"/>
                  <a:gd name="T86" fmla="*/ 667 w 810"/>
                  <a:gd name="T87" fmla="*/ 154 h 322"/>
                  <a:gd name="T88" fmla="*/ 697 w 810"/>
                  <a:gd name="T89" fmla="*/ 129 h 322"/>
                  <a:gd name="T90" fmla="*/ 707 w 810"/>
                  <a:gd name="T91" fmla="*/ 86 h 322"/>
                  <a:gd name="T92" fmla="*/ 712 w 810"/>
                  <a:gd name="T93" fmla="*/ 69 h 322"/>
                  <a:gd name="T94" fmla="*/ 720 w 810"/>
                  <a:gd name="T95" fmla="*/ 70 h 322"/>
                  <a:gd name="T96" fmla="*/ 724 w 810"/>
                  <a:gd name="T97" fmla="*/ 64 h 322"/>
                  <a:gd name="T98" fmla="*/ 724 w 810"/>
                  <a:gd name="T99" fmla="*/ 63 h 322"/>
                  <a:gd name="T100" fmla="*/ 727 w 810"/>
                  <a:gd name="T101" fmla="*/ 54 h 322"/>
                  <a:gd name="T102" fmla="*/ 741 w 810"/>
                  <a:gd name="T103" fmla="*/ 50 h 322"/>
                  <a:gd name="T104" fmla="*/ 751 w 810"/>
                  <a:gd name="T105" fmla="*/ 52 h 322"/>
                  <a:gd name="T106" fmla="*/ 752 w 810"/>
                  <a:gd name="T107" fmla="*/ 58 h 322"/>
                  <a:gd name="T108" fmla="*/ 752 w 810"/>
                  <a:gd name="T109" fmla="*/ 6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10" h="322">
                    <a:moveTo>
                      <a:pt x="752" y="61"/>
                    </a:moveTo>
                    <a:cubicBezTo>
                      <a:pt x="753" y="62"/>
                      <a:pt x="757" y="63"/>
                      <a:pt x="762" y="61"/>
                    </a:cubicBezTo>
                    <a:cubicBezTo>
                      <a:pt x="767" y="59"/>
                      <a:pt x="771" y="56"/>
                      <a:pt x="771" y="54"/>
                    </a:cubicBezTo>
                    <a:cubicBezTo>
                      <a:pt x="771" y="45"/>
                      <a:pt x="778" y="42"/>
                      <a:pt x="786" y="38"/>
                    </a:cubicBezTo>
                    <a:cubicBezTo>
                      <a:pt x="790" y="36"/>
                      <a:pt x="795" y="33"/>
                      <a:pt x="800" y="30"/>
                    </a:cubicBezTo>
                    <a:cubicBezTo>
                      <a:pt x="810" y="23"/>
                      <a:pt x="807" y="7"/>
                      <a:pt x="806" y="0"/>
                    </a:cubicBezTo>
                    <a:cubicBezTo>
                      <a:pt x="805" y="0"/>
                      <a:pt x="805" y="0"/>
                      <a:pt x="805" y="0"/>
                    </a:cubicBezTo>
                    <a:cubicBezTo>
                      <a:pt x="800" y="1"/>
                      <a:pt x="691" y="26"/>
                      <a:pt x="662" y="29"/>
                    </a:cubicBezTo>
                    <a:cubicBezTo>
                      <a:pt x="646" y="30"/>
                      <a:pt x="553" y="44"/>
                      <a:pt x="471" y="57"/>
                    </a:cubicBezTo>
                    <a:cubicBezTo>
                      <a:pt x="397" y="68"/>
                      <a:pt x="327" y="78"/>
                      <a:pt x="316" y="79"/>
                    </a:cubicBezTo>
                    <a:cubicBezTo>
                      <a:pt x="296" y="81"/>
                      <a:pt x="265" y="87"/>
                      <a:pt x="249" y="91"/>
                    </a:cubicBezTo>
                    <a:cubicBezTo>
                      <a:pt x="246" y="91"/>
                      <a:pt x="243" y="92"/>
                      <a:pt x="239" y="93"/>
                    </a:cubicBezTo>
                    <a:cubicBezTo>
                      <a:pt x="227" y="95"/>
                      <a:pt x="213" y="99"/>
                      <a:pt x="208" y="99"/>
                    </a:cubicBezTo>
                    <a:cubicBezTo>
                      <a:pt x="207" y="101"/>
                      <a:pt x="207" y="108"/>
                      <a:pt x="209" y="113"/>
                    </a:cubicBezTo>
                    <a:cubicBezTo>
                      <a:pt x="209" y="115"/>
                      <a:pt x="208" y="117"/>
                      <a:pt x="206" y="118"/>
                    </a:cubicBezTo>
                    <a:cubicBezTo>
                      <a:pt x="206" y="118"/>
                      <a:pt x="199" y="121"/>
                      <a:pt x="192" y="121"/>
                    </a:cubicBezTo>
                    <a:cubicBezTo>
                      <a:pt x="187" y="122"/>
                      <a:pt x="114" y="134"/>
                      <a:pt x="66" y="142"/>
                    </a:cubicBezTo>
                    <a:cubicBezTo>
                      <a:pt x="64" y="144"/>
                      <a:pt x="61" y="146"/>
                      <a:pt x="58" y="148"/>
                    </a:cubicBezTo>
                    <a:cubicBezTo>
                      <a:pt x="53" y="151"/>
                      <a:pt x="46" y="156"/>
                      <a:pt x="47" y="160"/>
                    </a:cubicBezTo>
                    <a:cubicBezTo>
                      <a:pt x="47" y="169"/>
                      <a:pt x="30" y="200"/>
                      <a:pt x="23" y="212"/>
                    </a:cubicBezTo>
                    <a:cubicBezTo>
                      <a:pt x="23" y="214"/>
                      <a:pt x="24" y="216"/>
                      <a:pt x="24" y="218"/>
                    </a:cubicBezTo>
                    <a:cubicBezTo>
                      <a:pt x="26" y="231"/>
                      <a:pt x="28" y="243"/>
                      <a:pt x="28" y="251"/>
                    </a:cubicBezTo>
                    <a:cubicBezTo>
                      <a:pt x="28" y="264"/>
                      <a:pt x="16" y="287"/>
                      <a:pt x="7" y="303"/>
                    </a:cubicBezTo>
                    <a:cubicBezTo>
                      <a:pt x="5" y="307"/>
                      <a:pt x="3" y="310"/>
                      <a:pt x="2" y="313"/>
                    </a:cubicBezTo>
                    <a:cubicBezTo>
                      <a:pt x="1" y="314"/>
                      <a:pt x="1" y="316"/>
                      <a:pt x="0" y="318"/>
                    </a:cubicBezTo>
                    <a:cubicBezTo>
                      <a:pt x="28" y="318"/>
                      <a:pt x="161" y="322"/>
                      <a:pt x="193" y="317"/>
                    </a:cubicBezTo>
                    <a:cubicBezTo>
                      <a:pt x="216" y="314"/>
                      <a:pt x="277" y="305"/>
                      <a:pt x="376" y="289"/>
                    </a:cubicBezTo>
                    <a:cubicBezTo>
                      <a:pt x="382" y="288"/>
                      <a:pt x="382" y="288"/>
                      <a:pt x="382" y="288"/>
                    </a:cubicBezTo>
                    <a:cubicBezTo>
                      <a:pt x="388" y="287"/>
                      <a:pt x="404" y="284"/>
                      <a:pt x="424" y="280"/>
                    </a:cubicBezTo>
                    <a:cubicBezTo>
                      <a:pt x="472" y="270"/>
                      <a:pt x="544" y="256"/>
                      <a:pt x="571" y="255"/>
                    </a:cubicBezTo>
                    <a:cubicBezTo>
                      <a:pt x="571" y="254"/>
                      <a:pt x="571" y="252"/>
                      <a:pt x="571" y="251"/>
                    </a:cubicBezTo>
                    <a:cubicBezTo>
                      <a:pt x="570" y="247"/>
                      <a:pt x="570" y="241"/>
                      <a:pt x="570" y="236"/>
                    </a:cubicBezTo>
                    <a:cubicBezTo>
                      <a:pt x="571" y="227"/>
                      <a:pt x="581" y="224"/>
                      <a:pt x="589" y="221"/>
                    </a:cubicBezTo>
                    <a:cubicBezTo>
                      <a:pt x="592" y="220"/>
                      <a:pt x="596" y="219"/>
                      <a:pt x="597" y="218"/>
                    </a:cubicBezTo>
                    <a:cubicBezTo>
                      <a:pt x="598" y="217"/>
                      <a:pt x="598" y="217"/>
                      <a:pt x="598" y="217"/>
                    </a:cubicBezTo>
                    <a:cubicBezTo>
                      <a:pt x="598" y="217"/>
                      <a:pt x="597" y="214"/>
                      <a:pt x="596" y="213"/>
                    </a:cubicBezTo>
                    <a:cubicBezTo>
                      <a:pt x="594" y="209"/>
                      <a:pt x="591" y="204"/>
                      <a:pt x="589" y="197"/>
                    </a:cubicBezTo>
                    <a:cubicBezTo>
                      <a:pt x="588" y="193"/>
                      <a:pt x="589" y="189"/>
                      <a:pt x="590" y="186"/>
                    </a:cubicBezTo>
                    <a:cubicBezTo>
                      <a:pt x="593" y="182"/>
                      <a:pt x="599" y="182"/>
                      <a:pt x="604" y="181"/>
                    </a:cubicBezTo>
                    <a:cubicBezTo>
                      <a:pt x="606" y="181"/>
                      <a:pt x="610" y="180"/>
                      <a:pt x="611" y="179"/>
                    </a:cubicBezTo>
                    <a:cubicBezTo>
                      <a:pt x="616" y="173"/>
                      <a:pt x="628" y="173"/>
                      <a:pt x="642" y="172"/>
                    </a:cubicBezTo>
                    <a:cubicBezTo>
                      <a:pt x="647" y="172"/>
                      <a:pt x="651" y="172"/>
                      <a:pt x="655" y="171"/>
                    </a:cubicBezTo>
                    <a:cubicBezTo>
                      <a:pt x="661" y="171"/>
                      <a:pt x="662" y="169"/>
                      <a:pt x="663" y="164"/>
                    </a:cubicBezTo>
                    <a:cubicBezTo>
                      <a:pt x="664" y="161"/>
                      <a:pt x="665" y="157"/>
                      <a:pt x="667" y="154"/>
                    </a:cubicBezTo>
                    <a:cubicBezTo>
                      <a:pt x="674" y="143"/>
                      <a:pt x="686" y="136"/>
                      <a:pt x="697" y="129"/>
                    </a:cubicBezTo>
                    <a:cubicBezTo>
                      <a:pt x="706" y="125"/>
                      <a:pt x="707" y="99"/>
                      <a:pt x="707" y="86"/>
                    </a:cubicBezTo>
                    <a:cubicBezTo>
                      <a:pt x="706" y="80"/>
                      <a:pt x="708" y="72"/>
                      <a:pt x="712" y="69"/>
                    </a:cubicBezTo>
                    <a:cubicBezTo>
                      <a:pt x="715" y="68"/>
                      <a:pt x="718" y="68"/>
                      <a:pt x="720" y="70"/>
                    </a:cubicBezTo>
                    <a:cubicBezTo>
                      <a:pt x="722" y="70"/>
                      <a:pt x="724" y="66"/>
                      <a:pt x="724" y="64"/>
                    </a:cubicBezTo>
                    <a:cubicBezTo>
                      <a:pt x="724" y="63"/>
                      <a:pt x="724" y="63"/>
                      <a:pt x="724" y="63"/>
                    </a:cubicBezTo>
                    <a:cubicBezTo>
                      <a:pt x="724" y="60"/>
                      <a:pt x="724" y="56"/>
                      <a:pt x="727" y="54"/>
                    </a:cubicBezTo>
                    <a:cubicBezTo>
                      <a:pt x="730" y="51"/>
                      <a:pt x="734" y="50"/>
                      <a:pt x="741" y="50"/>
                    </a:cubicBezTo>
                    <a:cubicBezTo>
                      <a:pt x="747" y="50"/>
                      <a:pt x="750" y="50"/>
                      <a:pt x="751" y="52"/>
                    </a:cubicBezTo>
                    <a:cubicBezTo>
                      <a:pt x="753" y="55"/>
                      <a:pt x="752" y="57"/>
                      <a:pt x="752" y="58"/>
                    </a:cubicBezTo>
                    <a:cubicBezTo>
                      <a:pt x="751" y="60"/>
                      <a:pt x="751" y="60"/>
                      <a:pt x="752"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2">
                <a:extLst>
                  <a:ext uri="{FF2B5EF4-FFF2-40B4-BE49-F238E27FC236}">
                    <a16:creationId xmlns:a16="http://schemas.microsoft.com/office/drawing/2014/main" id="{9AC7594C-D600-444E-9D18-CA5BA744B4D6}"/>
                  </a:ext>
                </a:extLst>
              </p:cNvPr>
              <p:cNvSpPr>
                <a:spLocks/>
              </p:cNvSpPr>
              <p:nvPr/>
            </p:nvSpPr>
            <p:spPr bwMode="auto">
              <a:xfrm>
                <a:off x="5472" y="1667"/>
                <a:ext cx="482" cy="501"/>
              </a:xfrm>
              <a:custGeom>
                <a:avLst/>
                <a:gdLst>
                  <a:gd name="T0" fmla="*/ 326 w 410"/>
                  <a:gd name="T1" fmla="*/ 196 h 426"/>
                  <a:gd name="T2" fmla="*/ 345 w 410"/>
                  <a:gd name="T3" fmla="*/ 208 h 426"/>
                  <a:gd name="T4" fmla="*/ 371 w 410"/>
                  <a:gd name="T5" fmla="*/ 207 h 426"/>
                  <a:gd name="T6" fmla="*/ 392 w 410"/>
                  <a:gd name="T7" fmla="*/ 136 h 426"/>
                  <a:gd name="T8" fmla="*/ 406 w 410"/>
                  <a:gd name="T9" fmla="*/ 100 h 426"/>
                  <a:gd name="T10" fmla="*/ 373 w 410"/>
                  <a:gd name="T11" fmla="*/ 36 h 426"/>
                  <a:gd name="T12" fmla="*/ 334 w 410"/>
                  <a:gd name="T13" fmla="*/ 79 h 426"/>
                  <a:gd name="T14" fmla="*/ 306 w 410"/>
                  <a:gd name="T15" fmla="*/ 97 h 426"/>
                  <a:gd name="T16" fmla="*/ 289 w 410"/>
                  <a:gd name="T17" fmla="*/ 77 h 426"/>
                  <a:gd name="T18" fmla="*/ 260 w 410"/>
                  <a:gd name="T19" fmla="*/ 62 h 426"/>
                  <a:gd name="T20" fmla="*/ 223 w 410"/>
                  <a:gd name="T21" fmla="*/ 73 h 426"/>
                  <a:gd name="T22" fmla="*/ 159 w 410"/>
                  <a:gd name="T23" fmla="*/ 45 h 426"/>
                  <a:gd name="T24" fmla="*/ 151 w 410"/>
                  <a:gd name="T25" fmla="*/ 1 h 426"/>
                  <a:gd name="T26" fmla="*/ 145 w 410"/>
                  <a:gd name="T27" fmla="*/ 34 h 426"/>
                  <a:gd name="T28" fmla="*/ 150 w 410"/>
                  <a:gd name="T29" fmla="*/ 90 h 426"/>
                  <a:gd name="T30" fmla="*/ 128 w 410"/>
                  <a:gd name="T31" fmla="*/ 144 h 426"/>
                  <a:gd name="T32" fmla="*/ 114 w 410"/>
                  <a:gd name="T33" fmla="*/ 129 h 426"/>
                  <a:gd name="T34" fmla="*/ 113 w 410"/>
                  <a:gd name="T35" fmla="*/ 126 h 426"/>
                  <a:gd name="T36" fmla="*/ 102 w 410"/>
                  <a:gd name="T37" fmla="*/ 164 h 426"/>
                  <a:gd name="T38" fmla="*/ 110 w 410"/>
                  <a:gd name="T39" fmla="*/ 192 h 426"/>
                  <a:gd name="T40" fmla="*/ 81 w 410"/>
                  <a:gd name="T41" fmla="*/ 206 h 426"/>
                  <a:gd name="T42" fmla="*/ 58 w 410"/>
                  <a:gd name="T43" fmla="*/ 204 h 426"/>
                  <a:gd name="T44" fmla="*/ 59 w 410"/>
                  <a:gd name="T45" fmla="*/ 246 h 426"/>
                  <a:gd name="T46" fmla="*/ 42 w 410"/>
                  <a:gd name="T47" fmla="*/ 264 h 426"/>
                  <a:gd name="T48" fmla="*/ 0 w 410"/>
                  <a:gd name="T49" fmla="*/ 272 h 426"/>
                  <a:gd name="T50" fmla="*/ 6 w 410"/>
                  <a:gd name="T51" fmla="*/ 332 h 426"/>
                  <a:gd name="T52" fmla="*/ 43 w 410"/>
                  <a:gd name="T53" fmla="*/ 359 h 426"/>
                  <a:gd name="T54" fmla="*/ 63 w 410"/>
                  <a:gd name="T55" fmla="*/ 383 h 426"/>
                  <a:gd name="T56" fmla="*/ 98 w 410"/>
                  <a:gd name="T57" fmla="*/ 409 h 426"/>
                  <a:gd name="T58" fmla="*/ 110 w 410"/>
                  <a:gd name="T59" fmla="*/ 420 h 426"/>
                  <a:gd name="T60" fmla="*/ 158 w 410"/>
                  <a:gd name="T61" fmla="*/ 426 h 426"/>
                  <a:gd name="T62" fmla="*/ 169 w 410"/>
                  <a:gd name="T63" fmla="*/ 406 h 426"/>
                  <a:gd name="T64" fmla="*/ 205 w 410"/>
                  <a:gd name="T65" fmla="*/ 404 h 426"/>
                  <a:gd name="T66" fmla="*/ 219 w 410"/>
                  <a:gd name="T67" fmla="*/ 376 h 426"/>
                  <a:gd name="T68" fmla="*/ 284 w 410"/>
                  <a:gd name="T69" fmla="*/ 328 h 426"/>
                  <a:gd name="T70" fmla="*/ 296 w 410"/>
                  <a:gd name="T71" fmla="*/ 302 h 426"/>
                  <a:gd name="T72" fmla="*/ 312 w 410"/>
                  <a:gd name="T73" fmla="*/ 266 h 426"/>
                  <a:gd name="T74" fmla="*/ 327 w 410"/>
                  <a:gd name="T75" fmla="*/ 239 h 426"/>
                  <a:gd name="T76" fmla="*/ 317 w 410"/>
                  <a:gd name="T77" fmla="*/ 223 h 426"/>
                  <a:gd name="T78" fmla="*/ 321 w 410"/>
                  <a:gd name="T79" fmla="*/ 20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0" h="426">
                    <a:moveTo>
                      <a:pt x="321" y="200"/>
                    </a:moveTo>
                    <a:cubicBezTo>
                      <a:pt x="323" y="197"/>
                      <a:pt x="325" y="196"/>
                      <a:pt x="326" y="196"/>
                    </a:cubicBezTo>
                    <a:cubicBezTo>
                      <a:pt x="330" y="194"/>
                      <a:pt x="335" y="199"/>
                      <a:pt x="340" y="203"/>
                    </a:cubicBezTo>
                    <a:cubicBezTo>
                      <a:pt x="342" y="205"/>
                      <a:pt x="344" y="207"/>
                      <a:pt x="345" y="208"/>
                    </a:cubicBezTo>
                    <a:cubicBezTo>
                      <a:pt x="348" y="210"/>
                      <a:pt x="356" y="209"/>
                      <a:pt x="362" y="208"/>
                    </a:cubicBezTo>
                    <a:cubicBezTo>
                      <a:pt x="365" y="207"/>
                      <a:pt x="369" y="207"/>
                      <a:pt x="371" y="207"/>
                    </a:cubicBezTo>
                    <a:cubicBezTo>
                      <a:pt x="376" y="202"/>
                      <a:pt x="380" y="170"/>
                      <a:pt x="380" y="158"/>
                    </a:cubicBezTo>
                    <a:cubicBezTo>
                      <a:pt x="380" y="151"/>
                      <a:pt x="380" y="138"/>
                      <a:pt x="392" y="136"/>
                    </a:cubicBezTo>
                    <a:cubicBezTo>
                      <a:pt x="397" y="135"/>
                      <a:pt x="402" y="122"/>
                      <a:pt x="405" y="105"/>
                    </a:cubicBezTo>
                    <a:cubicBezTo>
                      <a:pt x="405" y="103"/>
                      <a:pt x="406" y="101"/>
                      <a:pt x="406" y="100"/>
                    </a:cubicBezTo>
                    <a:cubicBezTo>
                      <a:pt x="408" y="88"/>
                      <a:pt x="410" y="78"/>
                      <a:pt x="409" y="62"/>
                    </a:cubicBezTo>
                    <a:cubicBezTo>
                      <a:pt x="408" y="49"/>
                      <a:pt x="384" y="39"/>
                      <a:pt x="373" y="36"/>
                    </a:cubicBezTo>
                    <a:cubicBezTo>
                      <a:pt x="364" y="43"/>
                      <a:pt x="355" y="55"/>
                      <a:pt x="347" y="64"/>
                    </a:cubicBezTo>
                    <a:cubicBezTo>
                      <a:pt x="342" y="71"/>
                      <a:pt x="337" y="76"/>
                      <a:pt x="334" y="79"/>
                    </a:cubicBezTo>
                    <a:cubicBezTo>
                      <a:pt x="333" y="80"/>
                      <a:pt x="331" y="81"/>
                      <a:pt x="330" y="83"/>
                    </a:cubicBezTo>
                    <a:cubicBezTo>
                      <a:pt x="323" y="89"/>
                      <a:pt x="315" y="97"/>
                      <a:pt x="306" y="97"/>
                    </a:cubicBezTo>
                    <a:cubicBezTo>
                      <a:pt x="305" y="97"/>
                      <a:pt x="304" y="97"/>
                      <a:pt x="302" y="96"/>
                    </a:cubicBezTo>
                    <a:cubicBezTo>
                      <a:pt x="296" y="95"/>
                      <a:pt x="292" y="88"/>
                      <a:pt x="289" y="77"/>
                    </a:cubicBezTo>
                    <a:cubicBezTo>
                      <a:pt x="287" y="68"/>
                      <a:pt x="283" y="62"/>
                      <a:pt x="279" y="60"/>
                    </a:cubicBezTo>
                    <a:cubicBezTo>
                      <a:pt x="275" y="57"/>
                      <a:pt x="268" y="60"/>
                      <a:pt x="260" y="62"/>
                    </a:cubicBezTo>
                    <a:cubicBezTo>
                      <a:pt x="256" y="63"/>
                      <a:pt x="252" y="65"/>
                      <a:pt x="248" y="66"/>
                    </a:cubicBezTo>
                    <a:cubicBezTo>
                      <a:pt x="240" y="67"/>
                      <a:pt x="232" y="70"/>
                      <a:pt x="223" y="73"/>
                    </a:cubicBezTo>
                    <a:cubicBezTo>
                      <a:pt x="212" y="78"/>
                      <a:pt x="201" y="82"/>
                      <a:pt x="193" y="82"/>
                    </a:cubicBezTo>
                    <a:cubicBezTo>
                      <a:pt x="177" y="82"/>
                      <a:pt x="161" y="69"/>
                      <a:pt x="159" y="45"/>
                    </a:cubicBezTo>
                    <a:cubicBezTo>
                      <a:pt x="159" y="33"/>
                      <a:pt x="155" y="15"/>
                      <a:pt x="152" y="0"/>
                    </a:cubicBezTo>
                    <a:cubicBezTo>
                      <a:pt x="152" y="0"/>
                      <a:pt x="151" y="0"/>
                      <a:pt x="151" y="1"/>
                    </a:cubicBezTo>
                    <a:cubicBezTo>
                      <a:pt x="149" y="8"/>
                      <a:pt x="147" y="20"/>
                      <a:pt x="146" y="29"/>
                    </a:cubicBezTo>
                    <a:cubicBezTo>
                      <a:pt x="146" y="31"/>
                      <a:pt x="146" y="32"/>
                      <a:pt x="145" y="34"/>
                    </a:cubicBezTo>
                    <a:cubicBezTo>
                      <a:pt x="144" y="43"/>
                      <a:pt x="143" y="55"/>
                      <a:pt x="148" y="64"/>
                    </a:cubicBezTo>
                    <a:cubicBezTo>
                      <a:pt x="153" y="73"/>
                      <a:pt x="152" y="82"/>
                      <a:pt x="150" y="90"/>
                    </a:cubicBezTo>
                    <a:cubicBezTo>
                      <a:pt x="149" y="94"/>
                      <a:pt x="149" y="97"/>
                      <a:pt x="148" y="101"/>
                    </a:cubicBezTo>
                    <a:cubicBezTo>
                      <a:pt x="148" y="116"/>
                      <a:pt x="135" y="138"/>
                      <a:pt x="128" y="144"/>
                    </a:cubicBezTo>
                    <a:cubicBezTo>
                      <a:pt x="124" y="147"/>
                      <a:pt x="121" y="147"/>
                      <a:pt x="119" y="146"/>
                    </a:cubicBezTo>
                    <a:cubicBezTo>
                      <a:pt x="114" y="144"/>
                      <a:pt x="114" y="136"/>
                      <a:pt x="114" y="129"/>
                    </a:cubicBezTo>
                    <a:cubicBezTo>
                      <a:pt x="114" y="128"/>
                      <a:pt x="114" y="127"/>
                      <a:pt x="114" y="126"/>
                    </a:cubicBezTo>
                    <a:cubicBezTo>
                      <a:pt x="114" y="126"/>
                      <a:pt x="113" y="126"/>
                      <a:pt x="113" y="126"/>
                    </a:cubicBezTo>
                    <a:cubicBezTo>
                      <a:pt x="111" y="128"/>
                      <a:pt x="104" y="138"/>
                      <a:pt x="99" y="150"/>
                    </a:cubicBezTo>
                    <a:cubicBezTo>
                      <a:pt x="96" y="157"/>
                      <a:pt x="97" y="159"/>
                      <a:pt x="102" y="164"/>
                    </a:cubicBezTo>
                    <a:cubicBezTo>
                      <a:pt x="104" y="165"/>
                      <a:pt x="104" y="165"/>
                      <a:pt x="104" y="165"/>
                    </a:cubicBezTo>
                    <a:cubicBezTo>
                      <a:pt x="110" y="172"/>
                      <a:pt x="112" y="181"/>
                      <a:pt x="110" y="192"/>
                    </a:cubicBezTo>
                    <a:cubicBezTo>
                      <a:pt x="107" y="201"/>
                      <a:pt x="100" y="211"/>
                      <a:pt x="93" y="214"/>
                    </a:cubicBezTo>
                    <a:cubicBezTo>
                      <a:pt x="87" y="216"/>
                      <a:pt x="83" y="210"/>
                      <a:pt x="81" y="206"/>
                    </a:cubicBezTo>
                    <a:cubicBezTo>
                      <a:pt x="79" y="204"/>
                      <a:pt x="78" y="201"/>
                      <a:pt x="75" y="199"/>
                    </a:cubicBezTo>
                    <a:cubicBezTo>
                      <a:pt x="74" y="197"/>
                      <a:pt x="69" y="194"/>
                      <a:pt x="58" y="204"/>
                    </a:cubicBezTo>
                    <a:cubicBezTo>
                      <a:pt x="56" y="206"/>
                      <a:pt x="56" y="218"/>
                      <a:pt x="61" y="234"/>
                    </a:cubicBezTo>
                    <a:cubicBezTo>
                      <a:pt x="63" y="240"/>
                      <a:pt x="61" y="244"/>
                      <a:pt x="59" y="246"/>
                    </a:cubicBezTo>
                    <a:cubicBezTo>
                      <a:pt x="57" y="250"/>
                      <a:pt x="53" y="253"/>
                      <a:pt x="50" y="253"/>
                    </a:cubicBezTo>
                    <a:cubicBezTo>
                      <a:pt x="48" y="254"/>
                      <a:pt x="45" y="258"/>
                      <a:pt x="42" y="264"/>
                    </a:cubicBezTo>
                    <a:cubicBezTo>
                      <a:pt x="39" y="270"/>
                      <a:pt x="32" y="272"/>
                      <a:pt x="28" y="272"/>
                    </a:cubicBezTo>
                    <a:cubicBezTo>
                      <a:pt x="0" y="272"/>
                      <a:pt x="0" y="272"/>
                      <a:pt x="0" y="272"/>
                    </a:cubicBezTo>
                    <a:cubicBezTo>
                      <a:pt x="5" y="281"/>
                      <a:pt x="12" y="298"/>
                      <a:pt x="6" y="316"/>
                    </a:cubicBezTo>
                    <a:cubicBezTo>
                      <a:pt x="4" y="323"/>
                      <a:pt x="4" y="328"/>
                      <a:pt x="6" y="332"/>
                    </a:cubicBezTo>
                    <a:cubicBezTo>
                      <a:pt x="10" y="337"/>
                      <a:pt x="19" y="337"/>
                      <a:pt x="26" y="338"/>
                    </a:cubicBezTo>
                    <a:cubicBezTo>
                      <a:pt x="39" y="338"/>
                      <a:pt x="41" y="349"/>
                      <a:pt x="43" y="359"/>
                    </a:cubicBezTo>
                    <a:cubicBezTo>
                      <a:pt x="44" y="363"/>
                      <a:pt x="45" y="367"/>
                      <a:pt x="46" y="371"/>
                    </a:cubicBezTo>
                    <a:cubicBezTo>
                      <a:pt x="49" y="380"/>
                      <a:pt x="54" y="381"/>
                      <a:pt x="63" y="383"/>
                    </a:cubicBezTo>
                    <a:cubicBezTo>
                      <a:pt x="68" y="384"/>
                      <a:pt x="73" y="385"/>
                      <a:pt x="80" y="388"/>
                    </a:cubicBezTo>
                    <a:cubicBezTo>
                      <a:pt x="96" y="395"/>
                      <a:pt x="98" y="400"/>
                      <a:pt x="98" y="409"/>
                    </a:cubicBezTo>
                    <a:cubicBezTo>
                      <a:pt x="98" y="411"/>
                      <a:pt x="98" y="411"/>
                      <a:pt x="98" y="411"/>
                    </a:cubicBezTo>
                    <a:cubicBezTo>
                      <a:pt x="98" y="414"/>
                      <a:pt x="105" y="418"/>
                      <a:pt x="110" y="420"/>
                    </a:cubicBezTo>
                    <a:cubicBezTo>
                      <a:pt x="112" y="421"/>
                      <a:pt x="114" y="422"/>
                      <a:pt x="116" y="423"/>
                    </a:cubicBezTo>
                    <a:cubicBezTo>
                      <a:pt x="122" y="426"/>
                      <a:pt x="146" y="426"/>
                      <a:pt x="158" y="426"/>
                    </a:cubicBezTo>
                    <a:cubicBezTo>
                      <a:pt x="164" y="426"/>
                      <a:pt x="165" y="423"/>
                      <a:pt x="167" y="415"/>
                    </a:cubicBezTo>
                    <a:cubicBezTo>
                      <a:pt x="167" y="412"/>
                      <a:pt x="168" y="409"/>
                      <a:pt x="169" y="406"/>
                    </a:cubicBezTo>
                    <a:cubicBezTo>
                      <a:pt x="173" y="398"/>
                      <a:pt x="181" y="400"/>
                      <a:pt x="188" y="402"/>
                    </a:cubicBezTo>
                    <a:cubicBezTo>
                      <a:pt x="193" y="403"/>
                      <a:pt x="198" y="405"/>
                      <a:pt x="205" y="404"/>
                    </a:cubicBezTo>
                    <a:cubicBezTo>
                      <a:pt x="212" y="403"/>
                      <a:pt x="214" y="397"/>
                      <a:pt x="215" y="388"/>
                    </a:cubicBezTo>
                    <a:cubicBezTo>
                      <a:pt x="216" y="383"/>
                      <a:pt x="217" y="379"/>
                      <a:pt x="219" y="376"/>
                    </a:cubicBezTo>
                    <a:cubicBezTo>
                      <a:pt x="225" y="368"/>
                      <a:pt x="244" y="356"/>
                      <a:pt x="259" y="347"/>
                    </a:cubicBezTo>
                    <a:cubicBezTo>
                      <a:pt x="272" y="339"/>
                      <a:pt x="278" y="334"/>
                      <a:pt x="284" y="328"/>
                    </a:cubicBezTo>
                    <a:cubicBezTo>
                      <a:pt x="287" y="326"/>
                      <a:pt x="290" y="323"/>
                      <a:pt x="295" y="319"/>
                    </a:cubicBezTo>
                    <a:cubicBezTo>
                      <a:pt x="302" y="314"/>
                      <a:pt x="300" y="310"/>
                      <a:pt x="296" y="302"/>
                    </a:cubicBezTo>
                    <a:cubicBezTo>
                      <a:pt x="295" y="299"/>
                      <a:pt x="294" y="297"/>
                      <a:pt x="294" y="294"/>
                    </a:cubicBezTo>
                    <a:cubicBezTo>
                      <a:pt x="290" y="283"/>
                      <a:pt x="302" y="274"/>
                      <a:pt x="312" y="266"/>
                    </a:cubicBezTo>
                    <a:cubicBezTo>
                      <a:pt x="314" y="264"/>
                      <a:pt x="315" y="263"/>
                      <a:pt x="317" y="262"/>
                    </a:cubicBezTo>
                    <a:cubicBezTo>
                      <a:pt x="324" y="255"/>
                      <a:pt x="327" y="248"/>
                      <a:pt x="327" y="239"/>
                    </a:cubicBezTo>
                    <a:cubicBezTo>
                      <a:pt x="326" y="232"/>
                      <a:pt x="323" y="229"/>
                      <a:pt x="319" y="225"/>
                    </a:cubicBezTo>
                    <a:cubicBezTo>
                      <a:pt x="319" y="224"/>
                      <a:pt x="318" y="223"/>
                      <a:pt x="317" y="223"/>
                    </a:cubicBezTo>
                    <a:cubicBezTo>
                      <a:pt x="313" y="217"/>
                      <a:pt x="316" y="210"/>
                      <a:pt x="319" y="204"/>
                    </a:cubicBezTo>
                    <a:cubicBezTo>
                      <a:pt x="320" y="202"/>
                      <a:pt x="321" y="201"/>
                      <a:pt x="321" y="200"/>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83">
                <a:extLst>
                  <a:ext uri="{FF2B5EF4-FFF2-40B4-BE49-F238E27FC236}">
                    <a16:creationId xmlns:a16="http://schemas.microsoft.com/office/drawing/2014/main" id="{90932DD2-3FC0-4884-922A-BF67EDE2D541}"/>
                  </a:ext>
                </a:extLst>
              </p:cNvPr>
              <p:cNvSpPr>
                <a:spLocks/>
              </p:cNvSpPr>
              <p:nvPr/>
            </p:nvSpPr>
            <p:spPr bwMode="auto">
              <a:xfrm>
                <a:off x="4233" y="2452"/>
                <a:ext cx="501" cy="519"/>
              </a:xfrm>
              <a:custGeom>
                <a:avLst/>
                <a:gdLst>
                  <a:gd name="T0" fmla="*/ 375 w 426"/>
                  <a:gd name="T1" fmla="*/ 228 h 441"/>
                  <a:gd name="T2" fmla="*/ 390 w 426"/>
                  <a:gd name="T3" fmla="*/ 213 h 441"/>
                  <a:gd name="T4" fmla="*/ 401 w 426"/>
                  <a:gd name="T5" fmla="*/ 145 h 441"/>
                  <a:gd name="T6" fmla="*/ 406 w 426"/>
                  <a:gd name="T7" fmla="*/ 136 h 441"/>
                  <a:gd name="T8" fmla="*/ 426 w 426"/>
                  <a:gd name="T9" fmla="*/ 87 h 441"/>
                  <a:gd name="T10" fmla="*/ 422 w 426"/>
                  <a:gd name="T11" fmla="*/ 55 h 441"/>
                  <a:gd name="T12" fmla="*/ 419 w 426"/>
                  <a:gd name="T13" fmla="*/ 26 h 441"/>
                  <a:gd name="T14" fmla="*/ 415 w 426"/>
                  <a:gd name="T15" fmla="*/ 0 h 441"/>
                  <a:gd name="T16" fmla="*/ 1 w 426"/>
                  <a:gd name="T17" fmla="*/ 10 h 441"/>
                  <a:gd name="T18" fmla="*/ 1 w 426"/>
                  <a:gd name="T19" fmla="*/ 48 h 441"/>
                  <a:gd name="T20" fmla="*/ 7 w 426"/>
                  <a:gd name="T21" fmla="*/ 68 h 441"/>
                  <a:gd name="T22" fmla="*/ 12 w 426"/>
                  <a:gd name="T23" fmla="*/ 86 h 441"/>
                  <a:gd name="T24" fmla="*/ 22 w 426"/>
                  <a:gd name="T25" fmla="*/ 140 h 441"/>
                  <a:gd name="T26" fmla="*/ 23 w 426"/>
                  <a:gd name="T27" fmla="*/ 141 h 441"/>
                  <a:gd name="T28" fmla="*/ 23 w 426"/>
                  <a:gd name="T29" fmla="*/ 344 h 441"/>
                  <a:gd name="T30" fmla="*/ 79 w 426"/>
                  <a:gd name="T31" fmla="*/ 439 h 441"/>
                  <a:gd name="T32" fmla="*/ 79 w 426"/>
                  <a:gd name="T33" fmla="*/ 441 h 441"/>
                  <a:gd name="T34" fmla="*/ 363 w 426"/>
                  <a:gd name="T35" fmla="*/ 441 h 441"/>
                  <a:gd name="T36" fmla="*/ 362 w 426"/>
                  <a:gd name="T37" fmla="*/ 413 h 441"/>
                  <a:gd name="T38" fmla="*/ 364 w 426"/>
                  <a:gd name="T39" fmla="*/ 386 h 441"/>
                  <a:gd name="T40" fmla="*/ 364 w 426"/>
                  <a:gd name="T41" fmla="*/ 384 h 441"/>
                  <a:gd name="T42" fmla="*/ 364 w 426"/>
                  <a:gd name="T43" fmla="*/ 383 h 441"/>
                  <a:gd name="T44" fmla="*/ 354 w 426"/>
                  <a:gd name="T45" fmla="*/ 358 h 441"/>
                  <a:gd name="T46" fmla="*/ 354 w 426"/>
                  <a:gd name="T47" fmla="*/ 353 h 441"/>
                  <a:gd name="T48" fmla="*/ 358 w 426"/>
                  <a:gd name="T49" fmla="*/ 300 h 441"/>
                  <a:gd name="T50" fmla="*/ 365 w 426"/>
                  <a:gd name="T51" fmla="*/ 291 h 441"/>
                  <a:gd name="T52" fmla="*/ 375 w 426"/>
                  <a:gd name="T53" fmla="*/ 271 h 441"/>
                  <a:gd name="T54" fmla="*/ 369 w 426"/>
                  <a:gd name="T55" fmla="*/ 262 h 441"/>
                  <a:gd name="T56" fmla="*/ 363 w 426"/>
                  <a:gd name="T57" fmla="*/ 238 h 441"/>
                  <a:gd name="T58" fmla="*/ 375 w 426"/>
                  <a:gd name="T59" fmla="*/ 22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6" h="441">
                    <a:moveTo>
                      <a:pt x="375" y="228"/>
                    </a:moveTo>
                    <a:cubicBezTo>
                      <a:pt x="382" y="223"/>
                      <a:pt x="390" y="217"/>
                      <a:pt x="390" y="213"/>
                    </a:cubicBezTo>
                    <a:cubicBezTo>
                      <a:pt x="390" y="204"/>
                      <a:pt x="393" y="160"/>
                      <a:pt x="401" y="145"/>
                    </a:cubicBezTo>
                    <a:cubicBezTo>
                      <a:pt x="402" y="143"/>
                      <a:pt x="404" y="139"/>
                      <a:pt x="406" y="136"/>
                    </a:cubicBezTo>
                    <a:cubicBezTo>
                      <a:pt x="414" y="121"/>
                      <a:pt x="426" y="98"/>
                      <a:pt x="426" y="87"/>
                    </a:cubicBezTo>
                    <a:cubicBezTo>
                      <a:pt x="426" y="80"/>
                      <a:pt x="424" y="67"/>
                      <a:pt x="422" y="55"/>
                    </a:cubicBezTo>
                    <a:cubicBezTo>
                      <a:pt x="420" y="40"/>
                      <a:pt x="418" y="31"/>
                      <a:pt x="419" y="26"/>
                    </a:cubicBezTo>
                    <a:cubicBezTo>
                      <a:pt x="420" y="22"/>
                      <a:pt x="417" y="9"/>
                      <a:pt x="415" y="0"/>
                    </a:cubicBezTo>
                    <a:cubicBezTo>
                      <a:pt x="1" y="10"/>
                      <a:pt x="1" y="10"/>
                      <a:pt x="1" y="10"/>
                    </a:cubicBezTo>
                    <a:cubicBezTo>
                      <a:pt x="1" y="24"/>
                      <a:pt x="1" y="39"/>
                      <a:pt x="1" y="48"/>
                    </a:cubicBezTo>
                    <a:cubicBezTo>
                      <a:pt x="0" y="57"/>
                      <a:pt x="4" y="63"/>
                      <a:pt x="7" y="68"/>
                    </a:cubicBezTo>
                    <a:cubicBezTo>
                      <a:pt x="10" y="73"/>
                      <a:pt x="13" y="78"/>
                      <a:pt x="12" y="86"/>
                    </a:cubicBezTo>
                    <a:cubicBezTo>
                      <a:pt x="10" y="95"/>
                      <a:pt x="19" y="128"/>
                      <a:pt x="22" y="140"/>
                    </a:cubicBezTo>
                    <a:cubicBezTo>
                      <a:pt x="23" y="141"/>
                      <a:pt x="23" y="141"/>
                      <a:pt x="23" y="141"/>
                    </a:cubicBezTo>
                    <a:cubicBezTo>
                      <a:pt x="23" y="344"/>
                      <a:pt x="23" y="344"/>
                      <a:pt x="23" y="344"/>
                    </a:cubicBezTo>
                    <a:cubicBezTo>
                      <a:pt x="37" y="355"/>
                      <a:pt x="77" y="403"/>
                      <a:pt x="79" y="439"/>
                    </a:cubicBezTo>
                    <a:cubicBezTo>
                      <a:pt x="79" y="440"/>
                      <a:pt x="79" y="440"/>
                      <a:pt x="79" y="441"/>
                    </a:cubicBezTo>
                    <a:cubicBezTo>
                      <a:pt x="363" y="441"/>
                      <a:pt x="363" y="441"/>
                      <a:pt x="363" y="441"/>
                    </a:cubicBezTo>
                    <a:cubicBezTo>
                      <a:pt x="364" y="437"/>
                      <a:pt x="365" y="428"/>
                      <a:pt x="362" y="413"/>
                    </a:cubicBezTo>
                    <a:cubicBezTo>
                      <a:pt x="360" y="398"/>
                      <a:pt x="362" y="391"/>
                      <a:pt x="364" y="386"/>
                    </a:cubicBezTo>
                    <a:cubicBezTo>
                      <a:pt x="364" y="385"/>
                      <a:pt x="364" y="384"/>
                      <a:pt x="364" y="384"/>
                    </a:cubicBezTo>
                    <a:cubicBezTo>
                      <a:pt x="364" y="383"/>
                      <a:pt x="364" y="383"/>
                      <a:pt x="364" y="383"/>
                    </a:cubicBezTo>
                    <a:cubicBezTo>
                      <a:pt x="360" y="377"/>
                      <a:pt x="354" y="366"/>
                      <a:pt x="354" y="358"/>
                    </a:cubicBezTo>
                    <a:cubicBezTo>
                      <a:pt x="354" y="357"/>
                      <a:pt x="354" y="355"/>
                      <a:pt x="354" y="353"/>
                    </a:cubicBezTo>
                    <a:cubicBezTo>
                      <a:pt x="354" y="330"/>
                      <a:pt x="354" y="307"/>
                      <a:pt x="358" y="300"/>
                    </a:cubicBezTo>
                    <a:cubicBezTo>
                      <a:pt x="360" y="297"/>
                      <a:pt x="362" y="294"/>
                      <a:pt x="365" y="291"/>
                    </a:cubicBezTo>
                    <a:cubicBezTo>
                      <a:pt x="370" y="285"/>
                      <a:pt x="377" y="275"/>
                      <a:pt x="375" y="271"/>
                    </a:cubicBezTo>
                    <a:cubicBezTo>
                      <a:pt x="374" y="269"/>
                      <a:pt x="372" y="265"/>
                      <a:pt x="369" y="262"/>
                    </a:cubicBezTo>
                    <a:cubicBezTo>
                      <a:pt x="363" y="256"/>
                      <a:pt x="355" y="247"/>
                      <a:pt x="363" y="238"/>
                    </a:cubicBezTo>
                    <a:cubicBezTo>
                      <a:pt x="367" y="235"/>
                      <a:pt x="371" y="231"/>
                      <a:pt x="375"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84">
                <a:extLst>
                  <a:ext uri="{FF2B5EF4-FFF2-40B4-BE49-F238E27FC236}">
                    <a16:creationId xmlns:a16="http://schemas.microsoft.com/office/drawing/2014/main" id="{DF6F6E07-43BB-4B73-8454-43FAEB6173C7}"/>
                  </a:ext>
                </a:extLst>
              </p:cNvPr>
              <p:cNvSpPr>
                <a:spLocks/>
              </p:cNvSpPr>
              <p:nvPr/>
            </p:nvSpPr>
            <p:spPr bwMode="auto">
              <a:xfrm>
                <a:off x="6257" y="767"/>
                <a:ext cx="50" cy="21"/>
              </a:xfrm>
              <a:custGeom>
                <a:avLst/>
                <a:gdLst>
                  <a:gd name="T0" fmla="*/ 42 w 42"/>
                  <a:gd name="T1" fmla="*/ 0 h 18"/>
                  <a:gd name="T2" fmla="*/ 0 w 42"/>
                  <a:gd name="T3" fmla="*/ 18 h 18"/>
                  <a:gd name="T4" fmla="*/ 17 w 42"/>
                  <a:gd name="T5" fmla="*/ 11 h 18"/>
                  <a:gd name="T6" fmla="*/ 42 w 42"/>
                  <a:gd name="T7" fmla="*/ 0 h 18"/>
                </a:gdLst>
                <a:ahLst/>
                <a:cxnLst>
                  <a:cxn ang="0">
                    <a:pos x="T0" y="T1"/>
                  </a:cxn>
                  <a:cxn ang="0">
                    <a:pos x="T2" y="T3"/>
                  </a:cxn>
                  <a:cxn ang="0">
                    <a:pos x="T4" y="T5"/>
                  </a:cxn>
                  <a:cxn ang="0">
                    <a:pos x="T6" y="T7"/>
                  </a:cxn>
                </a:cxnLst>
                <a:rect l="0" t="0" r="r" b="b"/>
                <a:pathLst>
                  <a:path w="42" h="18">
                    <a:moveTo>
                      <a:pt x="42" y="0"/>
                    </a:moveTo>
                    <a:cubicBezTo>
                      <a:pt x="0" y="18"/>
                      <a:pt x="0" y="18"/>
                      <a:pt x="0" y="18"/>
                    </a:cubicBezTo>
                    <a:cubicBezTo>
                      <a:pt x="6" y="16"/>
                      <a:pt x="12" y="13"/>
                      <a:pt x="17" y="11"/>
                    </a:cubicBezTo>
                    <a:cubicBezTo>
                      <a:pt x="28" y="7"/>
                      <a:pt x="36" y="4"/>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5">
                <a:extLst>
                  <a:ext uri="{FF2B5EF4-FFF2-40B4-BE49-F238E27FC236}">
                    <a16:creationId xmlns:a16="http://schemas.microsoft.com/office/drawing/2014/main" id="{9FC115C9-B4C2-4050-9CC5-43215DF7085C}"/>
                  </a:ext>
                </a:extLst>
              </p:cNvPr>
              <p:cNvSpPr>
                <a:spLocks/>
              </p:cNvSpPr>
              <p:nvPr/>
            </p:nvSpPr>
            <p:spPr bwMode="auto">
              <a:xfrm>
                <a:off x="2486" y="1220"/>
                <a:ext cx="731" cy="583"/>
              </a:xfrm>
              <a:custGeom>
                <a:avLst/>
                <a:gdLst>
                  <a:gd name="T0" fmla="*/ 165 w 622"/>
                  <a:gd name="T1" fmla="*/ 496 h 496"/>
                  <a:gd name="T2" fmla="*/ 165 w 622"/>
                  <a:gd name="T3" fmla="*/ 496 h 496"/>
                  <a:gd name="T4" fmla="*/ 621 w 622"/>
                  <a:gd name="T5" fmla="*/ 496 h 496"/>
                  <a:gd name="T6" fmla="*/ 619 w 622"/>
                  <a:gd name="T7" fmla="*/ 271 h 496"/>
                  <a:gd name="T8" fmla="*/ 619 w 622"/>
                  <a:gd name="T9" fmla="*/ 262 h 496"/>
                  <a:gd name="T10" fmla="*/ 619 w 622"/>
                  <a:gd name="T11" fmla="*/ 261 h 496"/>
                  <a:gd name="T12" fmla="*/ 619 w 622"/>
                  <a:gd name="T13" fmla="*/ 261 h 496"/>
                  <a:gd name="T14" fmla="*/ 622 w 622"/>
                  <a:gd name="T15" fmla="*/ 0 h 496"/>
                  <a:gd name="T16" fmla="*/ 31 w 622"/>
                  <a:gd name="T17" fmla="*/ 0 h 496"/>
                  <a:gd name="T18" fmla="*/ 27 w 622"/>
                  <a:gd name="T19" fmla="*/ 78 h 496"/>
                  <a:gd name="T20" fmla="*/ 27 w 622"/>
                  <a:gd name="T21" fmla="*/ 78 h 496"/>
                  <a:gd name="T22" fmla="*/ 27 w 622"/>
                  <a:gd name="T23" fmla="*/ 78 h 496"/>
                  <a:gd name="T24" fmla="*/ 13 w 622"/>
                  <a:gd name="T25" fmla="*/ 319 h 496"/>
                  <a:gd name="T26" fmla="*/ 13 w 622"/>
                  <a:gd name="T27" fmla="*/ 319 h 496"/>
                  <a:gd name="T28" fmla="*/ 13 w 622"/>
                  <a:gd name="T29" fmla="*/ 319 h 496"/>
                  <a:gd name="T30" fmla="*/ 0 w 622"/>
                  <a:gd name="T31" fmla="*/ 496 h 496"/>
                  <a:gd name="T32" fmla="*/ 165 w 622"/>
                  <a:gd name="T33"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2" h="496">
                    <a:moveTo>
                      <a:pt x="165" y="496"/>
                    </a:moveTo>
                    <a:cubicBezTo>
                      <a:pt x="165" y="496"/>
                      <a:pt x="165" y="496"/>
                      <a:pt x="165" y="496"/>
                    </a:cubicBezTo>
                    <a:cubicBezTo>
                      <a:pt x="621" y="496"/>
                      <a:pt x="621" y="496"/>
                      <a:pt x="621" y="496"/>
                    </a:cubicBezTo>
                    <a:cubicBezTo>
                      <a:pt x="619" y="271"/>
                      <a:pt x="619" y="271"/>
                      <a:pt x="619" y="271"/>
                    </a:cubicBezTo>
                    <a:cubicBezTo>
                      <a:pt x="619" y="262"/>
                      <a:pt x="619" y="262"/>
                      <a:pt x="619" y="262"/>
                    </a:cubicBezTo>
                    <a:cubicBezTo>
                      <a:pt x="619" y="262"/>
                      <a:pt x="619" y="261"/>
                      <a:pt x="619" y="261"/>
                    </a:cubicBezTo>
                    <a:cubicBezTo>
                      <a:pt x="619" y="261"/>
                      <a:pt x="619" y="261"/>
                      <a:pt x="619" y="261"/>
                    </a:cubicBezTo>
                    <a:cubicBezTo>
                      <a:pt x="622" y="0"/>
                      <a:pt x="622" y="0"/>
                      <a:pt x="622" y="0"/>
                    </a:cubicBezTo>
                    <a:cubicBezTo>
                      <a:pt x="31" y="0"/>
                      <a:pt x="31" y="0"/>
                      <a:pt x="31" y="0"/>
                    </a:cubicBezTo>
                    <a:cubicBezTo>
                      <a:pt x="27" y="7"/>
                      <a:pt x="26" y="45"/>
                      <a:pt x="27" y="78"/>
                    </a:cubicBezTo>
                    <a:cubicBezTo>
                      <a:pt x="27" y="78"/>
                      <a:pt x="27" y="78"/>
                      <a:pt x="27" y="78"/>
                    </a:cubicBezTo>
                    <a:cubicBezTo>
                      <a:pt x="27" y="78"/>
                      <a:pt x="27" y="78"/>
                      <a:pt x="27" y="78"/>
                    </a:cubicBezTo>
                    <a:cubicBezTo>
                      <a:pt x="27" y="93"/>
                      <a:pt x="13" y="310"/>
                      <a:pt x="13" y="319"/>
                    </a:cubicBezTo>
                    <a:cubicBezTo>
                      <a:pt x="13" y="319"/>
                      <a:pt x="13" y="319"/>
                      <a:pt x="13" y="319"/>
                    </a:cubicBezTo>
                    <a:cubicBezTo>
                      <a:pt x="13" y="319"/>
                      <a:pt x="13" y="319"/>
                      <a:pt x="13" y="319"/>
                    </a:cubicBezTo>
                    <a:cubicBezTo>
                      <a:pt x="0" y="496"/>
                      <a:pt x="0" y="496"/>
                      <a:pt x="0" y="496"/>
                    </a:cubicBezTo>
                    <a:lnTo>
                      <a:pt x="165" y="496"/>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86">
                <a:extLst>
                  <a:ext uri="{FF2B5EF4-FFF2-40B4-BE49-F238E27FC236}">
                    <a16:creationId xmlns:a16="http://schemas.microsoft.com/office/drawing/2014/main" id="{A69DD4E3-B86C-4542-846E-C732002243B8}"/>
                  </a:ext>
                </a:extLst>
              </p:cNvPr>
              <p:cNvSpPr>
                <a:spLocks/>
              </p:cNvSpPr>
              <p:nvPr/>
            </p:nvSpPr>
            <p:spPr bwMode="auto">
              <a:xfrm>
                <a:off x="3944" y="1482"/>
                <a:ext cx="662" cy="486"/>
              </a:xfrm>
              <a:custGeom>
                <a:avLst/>
                <a:gdLst>
                  <a:gd name="T0" fmla="*/ 30 w 563"/>
                  <a:gd name="T1" fmla="*/ 72 h 413"/>
                  <a:gd name="T2" fmla="*/ 35 w 563"/>
                  <a:gd name="T3" fmla="*/ 88 h 413"/>
                  <a:gd name="T4" fmla="*/ 45 w 563"/>
                  <a:gd name="T5" fmla="*/ 126 h 413"/>
                  <a:gd name="T6" fmla="*/ 82 w 563"/>
                  <a:gd name="T7" fmla="*/ 274 h 413"/>
                  <a:gd name="T8" fmla="*/ 96 w 563"/>
                  <a:gd name="T9" fmla="*/ 315 h 413"/>
                  <a:gd name="T10" fmla="*/ 105 w 563"/>
                  <a:gd name="T11" fmla="*/ 336 h 413"/>
                  <a:gd name="T12" fmla="*/ 118 w 563"/>
                  <a:gd name="T13" fmla="*/ 367 h 413"/>
                  <a:gd name="T14" fmla="*/ 421 w 563"/>
                  <a:gd name="T15" fmla="*/ 368 h 413"/>
                  <a:gd name="T16" fmla="*/ 468 w 563"/>
                  <a:gd name="T17" fmla="*/ 397 h 413"/>
                  <a:gd name="T18" fmla="*/ 480 w 563"/>
                  <a:gd name="T19" fmla="*/ 411 h 413"/>
                  <a:gd name="T20" fmla="*/ 481 w 563"/>
                  <a:gd name="T21" fmla="*/ 413 h 413"/>
                  <a:gd name="T22" fmla="*/ 482 w 563"/>
                  <a:gd name="T23" fmla="*/ 396 h 413"/>
                  <a:gd name="T24" fmla="*/ 483 w 563"/>
                  <a:gd name="T25" fmla="*/ 382 h 413"/>
                  <a:gd name="T26" fmla="*/ 476 w 563"/>
                  <a:gd name="T27" fmla="*/ 378 h 413"/>
                  <a:gd name="T28" fmla="*/ 463 w 563"/>
                  <a:gd name="T29" fmla="*/ 365 h 413"/>
                  <a:gd name="T30" fmla="*/ 481 w 563"/>
                  <a:gd name="T31" fmla="*/ 349 h 413"/>
                  <a:gd name="T32" fmla="*/ 497 w 563"/>
                  <a:gd name="T33" fmla="*/ 338 h 413"/>
                  <a:gd name="T34" fmla="*/ 508 w 563"/>
                  <a:gd name="T35" fmla="*/ 291 h 413"/>
                  <a:gd name="T36" fmla="*/ 486 w 563"/>
                  <a:gd name="T37" fmla="*/ 255 h 413"/>
                  <a:gd name="T38" fmla="*/ 484 w 563"/>
                  <a:gd name="T39" fmla="*/ 252 h 413"/>
                  <a:gd name="T40" fmla="*/ 484 w 563"/>
                  <a:gd name="T41" fmla="*/ 221 h 413"/>
                  <a:gd name="T42" fmla="*/ 487 w 563"/>
                  <a:gd name="T43" fmla="*/ 213 h 413"/>
                  <a:gd name="T44" fmla="*/ 498 w 563"/>
                  <a:gd name="T45" fmla="*/ 210 h 413"/>
                  <a:gd name="T46" fmla="*/ 500 w 563"/>
                  <a:gd name="T47" fmla="*/ 210 h 413"/>
                  <a:gd name="T48" fmla="*/ 519 w 563"/>
                  <a:gd name="T49" fmla="*/ 208 h 413"/>
                  <a:gd name="T50" fmla="*/ 528 w 563"/>
                  <a:gd name="T51" fmla="*/ 195 h 413"/>
                  <a:gd name="T52" fmla="*/ 532 w 563"/>
                  <a:gd name="T53" fmla="*/ 189 h 413"/>
                  <a:gd name="T54" fmla="*/ 538 w 563"/>
                  <a:gd name="T55" fmla="*/ 184 h 413"/>
                  <a:gd name="T56" fmla="*/ 554 w 563"/>
                  <a:gd name="T57" fmla="*/ 162 h 413"/>
                  <a:gd name="T58" fmla="*/ 524 w 563"/>
                  <a:gd name="T59" fmla="*/ 103 h 413"/>
                  <a:gd name="T60" fmla="*/ 505 w 563"/>
                  <a:gd name="T61" fmla="*/ 94 h 413"/>
                  <a:gd name="T62" fmla="*/ 482 w 563"/>
                  <a:gd name="T63" fmla="*/ 85 h 413"/>
                  <a:gd name="T64" fmla="*/ 477 w 563"/>
                  <a:gd name="T65" fmla="*/ 75 h 413"/>
                  <a:gd name="T66" fmla="*/ 475 w 563"/>
                  <a:gd name="T67" fmla="*/ 66 h 413"/>
                  <a:gd name="T68" fmla="*/ 476 w 563"/>
                  <a:gd name="T69" fmla="*/ 41 h 413"/>
                  <a:gd name="T70" fmla="*/ 479 w 563"/>
                  <a:gd name="T71" fmla="*/ 35 h 413"/>
                  <a:gd name="T72" fmla="*/ 476 w 563"/>
                  <a:gd name="T73" fmla="*/ 23 h 413"/>
                  <a:gd name="T74" fmla="*/ 462 w 563"/>
                  <a:gd name="T75" fmla="*/ 0 h 413"/>
                  <a:gd name="T76" fmla="*/ 0 w 563"/>
                  <a:gd name="T77" fmla="*/ 0 h 413"/>
                  <a:gd name="T78" fmla="*/ 0 w 563"/>
                  <a:gd name="T79" fmla="*/ 25 h 413"/>
                  <a:gd name="T80" fmla="*/ 10 w 563"/>
                  <a:gd name="T81" fmla="*/ 30 h 413"/>
                  <a:gd name="T82" fmla="*/ 22 w 563"/>
                  <a:gd name="T83" fmla="*/ 31 h 413"/>
                  <a:gd name="T84" fmla="*/ 30 w 563"/>
                  <a:gd name="T85" fmla="*/ 67 h 413"/>
                  <a:gd name="T86" fmla="*/ 30 w 563"/>
                  <a:gd name="T87" fmla="*/ 7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3" h="413">
                    <a:moveTo>
                      <a:pt x="30" y="72"/>
                    </a:moveTo>
                    <a:cubicBezTo>
                      <a:pt x="29" y="80"/>
                      <a:pt x="30" y="85"/>
                      <a:pt x="35" y="88"/>
                    </a:cubicBezTo>
                    <a:cubicBezTo>
                      <a:pt x="43" y="93"/>
                      <a:pt x="45" y="118"/>
                      <a:pt x="45" y="126"/>
                    </a:cubicBezTo>
                    <a:cubicBezTo>
                      <a:pt x="60" y="159"/>
                      <a:pt x="78" y="253"/>
                      <a:pt x="82" y="274"/>
                    </a:cubicBezTo>
                    <a:cubicBezTo>
                      <a:pt x="85" y="289"/>
                      <a:pt x="90" y="301"/>
                      <a:pt x="96" y="315"/>
                    </a:cubicBezTo>
                    <a:cubicBezTo>
                      <a:pt x="99" y="321"/>
                      <a:pt x="102" y="328"/>
                      <a:pt x="105" y="336"/>
                    </a:cubicBezTo>
                    <a:cubicBezTo>
                      <a:pt x="108" y="343"/>
                      <a:pt x="113" y="354"/>
                      <a:pt x="118" y="367"/>
                    </a:cubicBezTo>
                    <a:cubicBezTo>
                      <a:pt x="147" y="368"/>
                      <a:pt x="408" y="369"/>
                      <a:pt x="421" y="368"/>
                    </a:cubicBezTo>
                    <a:cubicBezTo>
                      <a:pt x="436" y="366"/>
                      <a:pt x="453" y="382"/>
                      <a:pt x="468" y="397"/>
                    </a:cubicBezTo>
                    <a:cubicBezTo>
                      <a:pt x="473" y="402"/>
                      <a:pt x="477" y="407"/>
                      <a:pt x="480" y="411"/>
                    </a:cubicBezTo>
                    <a:cubicBezTo>
                      <a:pt x="480" y="411"/>
                      <a:pt x="481" y="412"/>
                      <a:pt x="481" y="413"/>
                    </a:cubicBezTo>
                    <a:cubicBezTo>
                      <a:pt x="482" y="407"/>
                      <a:pt x="482" y="401"/>
                      <a:pt x="482" y="396"/>
                    </a:cubicBezTo>
                    <a:cubicBezTo>
                      <a:pt x="483" y="390"/>
                      <a:pt x="483" y="385"/>
                      <a:pt x="483" y="382"/>
                    </a:cubicBezTo>
                    <a:cubicBezTo>
                      <a:pt x="482" y="381"/>
                      <a:pt x="478" y="379"/>
                      <a:pt x="476" y="378"/>
                    </a:cubicBezTo>
                    <a:cubicBezTo>
                      <a:pt x="469" y="375"/>
                      <a:pt x="462" y="371"/>
                      <a:pt x="463" y="365"/>
                    </a:cubicBezTo>
                    <a:cubicBezTo>
                      <a:pt x="464" y="356"/>
                      <a:pt x="473" y="349"/>
                      <a:pt x="481" y="349"/>
                    </a:cubicBezTo>
                    <a:cubicBezTo>
                      <a:pt x="487" y="349"/>
                      <a:pt x="493" y="345"/>
                      <a:pt x="497" y="338"/>
                    </a:cubicBezTo>
                    <a:cubicBezTo>
                      <a:pt x="503" y="329"/>
                      <a:pt x="507" y="312"/>
                      <a:pt x="508" y="291"/>
                    </a:cubicBezTo>
                    <a:cubicBezTo>
                      <a:pt x="510" y="269"/>
                      <a:pt x="487" y="256"/>
                      <a:pt x="486" y="255"/>
                    </a:cubicBezTo>
                    <a:cubicBezTo>
                      <a:pt x="485" y="255"/>
                      <a:pt x="484" y="253"/>
                      <a:pt x="484" y="252"/>
                    </a:cubicBezTo>
                    <a:cubicBezTo>
                      <a:pt x="484" y="221"/>
                      <a:pt x="484" y="221"/>
                      <a:pt x="484" y="221"/>
                    </a:cubicBezTo>
                    <a:cubicBezTo>
                      <a:pt x="484" y="218"/>
                      <a:pt x="485" y="215"/>
                      <a:pt x="487" y="213"/>
                    </a:cubicBezTo>
                    <a:cubicBezTo>
                      <a:pt x="490" y="210"/>
                      <a:pt x="495" y="210"/>
                      <a:pt x="498" y="210"/>
                    </a:cubicBezTo>
                    <a:cubicBezTo>
                      <a:pt x="499" y="210"/>
                      <a:pt x="500" y="210"/>
                      <a:pt x="500" y="210"/>
                    </a:cubicBezTo>
                    <a:cubicBezTo>
                      <a:pt x="507" y="210"/>
                      <a:pt x="516" y="209"/>
                      <a:pt x="519" y="208"/>
                    </a:cubicBezTo>
                    <a:cubicBezTo>
                      <a:pt x="520" y="205"/>
                      <a:pt x="523" y="201"/>
                      <a:pt x="528" y="195"/>
                    </a:cubicBezTo>
                    <a:cubicBezTo>
                      <a:pt x="529" y="193"/>
                      <a:pt x="531" y="191"/>
                      <a:pt x="532" y="189"/>
                    </a:cubicBezTo>
                    <a:cubicBezTo>
                      <a:pt x="534" y="186"/>
                      <a:pt x="536" y="185"/>
                      <a:pt x="538" y="184"/>
                    </a:cubicBezTo>
                    <a:cubicBezTo>
                      <a:pt x="542" y="181"/>
                      <a:pt x="547" y="178"/>
                      <a:pt x="554" y="162"/>
                    </a:cubicBezTo>
                    <a:cubicBezTo>
                      <a:pt x="563" y="142"/>
                      <a:pt x="536" y="114"/>
                      <a:pt x="524" y="103"/>
                    </a:cubicBezTo>
                    <a:cubicBezTo>
                      <a:pt x="518" y="98"/>
                      <a:pt x="509" y="94"/>
                      <a:pt x="505" y="94"/>
                    </a:cubicBezTo>
                    <a:cubicBezTo>
                      <a:pt x="499" y="94"/>
                      <a:pt x="489" y="89"/>
                      <a:pt x="482" y="85"/>
                    </a:cubicBezTo>
                    <a:cubicBezTo>
                      <a:pt x="477" y="82"/>
                      <a:pt x="477" y="78"/>
                      <a:pt x="477" y="75"/>
                    </a:cubicBezTo>
                    <a:cubicBezTo>
                      <a:pt x="477" y="73"/>
                      <a:pt x="477" y="70"/>
                      <a:pt x="475" y="66"/>
                    </a:cubicBezTo>
                    <a:cubicBezTo>
                      <a:pt x="469" y="56"/>
                      <a:pt x="473" y="47"/>
                      <a:pt x="476" y="41"/>
                    </a:cubicBezTo>
                    <a:cubicBezTo>
                      <a:pt x="477" y="39"/>
                      <a:pt x="478" y="37"/>
                      <a:pt x="479" y="35"/>
                    </a:cubicBezTo>
                    <a:cubicBezTo>
                      <a:pt x="481" y="27"/>
                      <a:pt x="481" y="26"/>
                      <a:pt x="476" y="23"/>
                    </a:cubicBezTo>
                    <a:cubicBezTo>
                      <a:pt x="469" y="18"/>
                      <a:pt x="464" y="5"/>
                      <a:pt x="462" y="0"/>
                    </a:cubicBezTo>
                    <a:cubicBezTo>
                      <a:pt x="0" y="0"/>
                      <a:pt x="0" y="0"/>
                      <a:pt x="0" y="0"/>
                    </a:cubicBezTo>
                    <a:cubicBezTo>
                      <a:pt x="0" y="5"/>
                      <a:pt x="0" y="17"/>
                      <a:pt x="0" y="25"/>
                    </a:cubicBezTo>
                    <a:cubicBezTo>
                      <a:pt x="0" y="29"/>
                      <a:pt x="1" y="29"/>
                      <a:pt x="10" y="30"/>
                    </a:cubicBezTo>
                    <a:cubicBezTo>
                      <a:pt x="13" y="30"/>
                      <a:pt x="18" y="30"/>
                      <a:pt x="22" y="31"/>
                    </a:cubicBezTo>
                    <a:cubicBezTo>
                      <a:pt x="35" y="35"/>
                      <a:pt x="32" y="55"/>
                      <a:pt x="30" y="67"/>
                    </a:cubicBezTo>
                    <a:cubicBezTo>
                      <a:pt x="30" y="69"/>
                      <a:pt x="30" y="71"/>
                      <a:pt x="30" y="72"/>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87">
                <a:extLst>
                  <a:ext uri="{FF2B5EF4-FFF2-40B4-BE49-F238E27FC236}">
                    <a16:creationId xmlns:a16="http://schemas.microsoft.com/office/drawing/2014/main" id="{A4B5CE0C-7BAB-458F-A49D-D91ABC484514}"/>
                  </a:ext>
                </a:extLst>
              </p:cNvPr>
              <p:cNvSpPr>
                <a:spLocks/>
              </p:cNvSpPr>
              <p:nvPr/>
            </p:nvSpPr>
            <p:spPr bwMode="auto">
              <a:xfrm>
                <a:off x="4785" y="1987"/>
                <a:ext cx="792" cy="428"/>
              </a:xfrm>
              <a:custGeom>
                <a:avLst/>
                <a:gdLst>
                  <a:gd name="T0" fmla="*/ 617 w 674"/>
                  <a:gd name="T1" fmla="*/ 218 h 364"/>
                  <a:gd name="T2" fmla="*/ 632 w 674"/>
                  <a:gd name="T3" fmla="*/ 193 h 364"/>
                  <a:gd name="T4" fmla="*/ 656 w 674"/>
                  <a:gd name="T5" fmla="*/ 168 h 364"/>
                  <a:gd name="T6" fmla="*/ 674 w 674"/>
                  <a:gd name="T7" fmla="*/ 135 h 364"/>
                  <a:gd name="T8" fmla="*/ 645 w 674"/>
                  <a:gd name="T9" fmla="*/ 119 h 364"/>
                  <a:gd name="T10" fmla="*/ 619 w 674"/>
                  <a:gd name="T11" fmla="*/ 89 h 364"/>
                  <a:gd name="T12" fmla="*/ 584 w 674"/>
                  <a:gd name="T13" fmla="*/ 64 h 364"/>
                  <a:gd name="T14" fmla="*/ 574 w 674"/>
                  <a:gd name="T15" fmla="*/ 0 h 364"/>
                  <a:gd name="T16" fmla="*/ 556 w 674"/>
                  <a:gd name="T17" fmla="*/ 4 h 364"/>
                  <a:gd name="T18" fmla="*/ 518 w 674"/>
                  <a:gd name="T19" fmla="*/ 31 h 364"/>
                  <a:gd name="T20" fmla="*/ 462 w 674"/>
                  <a:gd name="T21" fmla="*/ 42 h 364"/>
                  <a:gd name="T22" fmla="*/ 426 w 674"/>
                  <a:gd name="T23" fmla="*/ 27 h 364"/>
                  <a:gd name="T24" fmla="*/ 392 w 674"/>
                  <a:gd name="T25" fmla="*/ 12 h 364"/>
                  <a:gd name="T26" fmla="*/ 362 w 674"/>
                  <a:gd name="T27" fmla="*/ 30 h 364"/>
                  <a:gd name="T28" fmla="*/ 352 w 674"/>
                  <a:gd name="T29" fmla="*/ 91 h 364"/>
                  <a:gd name="T30" fmla="*/ 311 w 674"/>
                  <a:gd name="T31" fmla="*/ 135 h 364"/>
                  <a:gd name="T32" fmla="*/ 297 w 674"/>
                  <a:gd name="T33" fmla="*/ 133 h 364"/>
                  <a:gd name="T34" fmla="*/ 258 w 674"/>
                  <a:gd name="T35" fmla="*/ 153 h 364"/>
                  <a:gd name="T36" fmla="*/ 229 w 674"/>
                  <a:gd name="T37" fmla="*/ 171 h 364"/>
                  <a:gd name="T38" fmla="*/ 185 w 674"/>
                  <a:gd name="T39" fmla="*/ 166 h 364"/>
                  <a:gd name="T40" fmla="*/ 165 w 674"/>
                  <a:gd name="T41" fmla="*/ 166 h 364"/>
                  <a:gd name="T42" fmla="*/ 153 w 674"/>
                  <a:gd name="T43" fmla="*/ 174 h 364"/>
                  <a:gd name="T44" fmla="*/ 124 w 674"/>
                  <a:gd name="T45" fmla="*/ 186 h 364"/>
                  <a:gd name="T46" fmla="*/ 115 w 674"/>
                  <a:gd name="T47" fmla="*/ 195 h 364"/>
                  <a:gd name="T48" fmla="*/ 103 w 674"/>
                  <a:gd name="T49" fmla="*/ 219 h 364"/>
                  <a:gd name="T50" fmla="*/ 99 w 674"/>
                  <a:gd name="T51" fmla="*/ 231 h 364"/>
                  <a:gd name="T52" fmla="*/ 75 w 674"/>
                  <a:gd name="T53" fmla="*/ 275 h 364"/>
                  <a:gd name="T54" fmla="*/ 72 w 674"/>
                  <a:gd name="T55" fmla="*/ 287 h 364"/>
                  <a:gd name="T56" fmla="*/ 59 w 674"/>
                  <a:gd name="T57" fmla="*/ 295 h 364"/>
                  <a:gd name="T58" fmla="*/ 33 w 674"/>
                  <a:gd name="T59" fmla="*/ 282 h 364"/>
                  <a:gd name="T60" fmla="*/ 21 w 674"/>
                  <a:gd name="T61" fmla="*/ 299 h 364"/>
                  <a:gd name="T62" fmla="*/ 0 w 674"/>
                  <a:gd name="T63" fmla="*/ 298 h 364"/>
                  <a:gd name="T64" fmla="*/ 8 w 674"/>
                  <a:gd name="T65" fmla="*/ 323 h 364"/>
                  <a:gd name="T66" fmla="*/ 19 w 674"/>
                  <a:gd name="T67" fmla="*/ 334 h 364"/>
                  <a:gd name="T68" fmla="*/ 11 w 674"/>
                  <a:gd name="T69" fmla="*/ 364 h 364"/>
                  <a:gd name="T70" fmla="*/ 137 w 674"/>
                  <a:gd name="T71" fmla="*/ 342 h 364"/>
                  <a:gd name="T72" fmla="*/ 143 w 674"/>
                  <a:gd name="T73" fmla="*/ 323 h 364"/>
                  <a:gd name="T74" fmla="*/ 184 w 674"/>
                  <a:gd name="T75" fmla="*/ 314 h 364"/>
                  <a:gd name="T76" fmla="*/ 406 w 674"/>
                  <a:gd name="T77" fmla="*/ 280 h 364"/>
                  <a:gd name="T78" fmla="*/ 609 w 674"/>
                  <a:gd name="T79" fmla="*/ 23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4" h="364">
                    <a:moveTo>
                      <a:pt x="609" y="230"/>
                    </a:moveTo>
                    <a:cubicBezTo>
                      <a:pt x="611" y="230"/>
                      <a:pt x="614" y="223"/>
                      <a:pt x="617" y="218"/>
                    </a:cubicBezTo>
                    <a:cubicBezTo>
                      <a:pt x="619" y="214"/>
                      <a:pt x="622" y="209"/>
                      <a:pt x="625" y="204"/>
                    </a:cubicBezTo>
                    <a:cubicBezTo>
                      <a:pt x="628" y="200"/>
                      <a:pt x="630" y="197"/>
                      <a:pt x="632" y="193"/>
                    </a:cubicBezTo>
                    <a:cubicBezTo>
                      <a:pt x="635" y="189"/>
                      <a:pt x="637" y="185"/>
                      <a:pt x="642" y="180"/>
                    </a:cubicBezTo>
                    <a:cubicBezTo>
                      <a:pt x="646" y="175"/>
                      <a:pt x="652" y="171"/>
                      <a:pt x="656" y="168"/>
                    </a:cubicBezTo>
                    <a:cubicBezTo>
                      <a:pt x="660" y="165"/>
                      <a:pt x="664" y="162"/>
                      <a:pt x="667" y="160"/>
                    </a:cubicBezTo>
                    <a:cubicBezTo>
                      <a:pt x="670" y="156"/>
                      <a:pt x="673" y="143"/>
                      <a:pt x="674" y="135"/>
                    </a:cubicBezTo>
                    <a:cubicBezTo>
                      <a:pt x="674" y="131"/>
                      <a:pt x="672" y="128"/>
                      <a:pt x="660" y="123"/>
                    </a:cubicBezTo>
                    <a:cubicBezTo>
                      <a:pt x="655" y="121"/>
                      <a:pt x="650" y="120"/>
                      <a:pt x="645" y="119"/>
                    </a:cubicBezTo>
                    <a:cubicBezTo>
                      <a:pt x="636" y="117"/>
                      <a:pt x="627" y="115"/>
                      <a:pt x="623" y="102"/>
                    </a:cubicBezTo>
                    <a:cubicBezTo>
                      <a:pt x="621" y="97"/>
                      <a:pt x="620" y="93"/>
                      <a:pt x="619" y="89"/>
                    </a:cubicBezTo>
                    <a:cubicBezTo>
                      <a:pt x="617" y="78"/>
                      <a:pt x="616" y="74"/>
                      <a:pt x="609" y="74"/>
                    </a:cubicBezTo>
                    <a:cubicBezTo>
                      <a:pt x="601" y="73"/>
                      <a:pt x="589" y="73"/>
                      <a:pt x="584" y="64"/>
                    </a:cubicBezTo>
                    <a:cubicBezTo>
                      <a:pt x="580" y="59"/>
                      <a:pt x="580" y="51"/>
                      <a:pt x="583" y="42"/>
                    </a:cubicBezTo>
                    <a:cubicBezTo>
                      <a:pt x="589" y="23"/>
                      <a:pt x="578" y="5"/>
                      <a:pt x="574" y="0"/>
                    </a:cubicBezTo>
                    <a:cubicBezTo>
                      <a:pt x="563" y="0"/>
                      <a:pt x="563" y="0"/>
                      <a:pt x="563" y="0"/>
                    </a:cubicBezTo>
                    <a:cubicBezTo>
                      <a:pt x="561" y="0"/>
                      <a:pt x="559" y="0"/>
                      <a:pt x="556" y="4"/>
                    </a:cubicBezTo>
                    <a:cubicBezTo>
                      <a:pt x="553" y="8"/>
                      <a:pt x="548" y="11"/>
                      <a:pt x="539" y="17"/>
                    </a:cubicBezTo>
                    <a:cubicBezTo>
                      <a:pt x="531" y="21"/>
                      <a:pt x="522" y="27"/>
                      <a:pt x="518" y="31"/>
                    </a:cubicBezTo>
                    <a:cubicBezTo>
                      <a:pt x="511" y="41"/>
                      <a:pt x="490" y="41"/>
                      <a:pt x="471" y="41"/>
                    </a:cubicBezTo>
                    <a:cubicBezTo>
                      <a:pt x="468" y="42"/>
                      <a:pt x="464" y="42"/>
                      <a:pt x="462" y="42"/>
                    </a:cubicBezTo>
                    <a:cubicBezTo>
                      <a:pt x="461" y="42"/>
                      <a:pt x="460" y="42"/>
                      <a:pt x="459" y="42"/>
                    </a:cubicBezTo>
                    <a:cubicBezTo>
                      <a:pt x="444" y="42"/>
                      <a:pt x="435" y="35"/>
                      <a:pt x="426" y="27"/>
                    </a:cubicBezTo>
                    <a:cubicBezTo>
                      <a:pt x="423" y="25"/>
                      <a:pt x="421" y="23"/>
                      <a:pt x="419" y="22"/>
                    </a:cubicBezTo>
                    <a:cubicBezTo>
                      <a:pt x="407" y="13"/>
                      <a:pt x="393" y="12"/>
                      <a:pt x="392" y="12"/>
                    </a:cubicBezTo>
                    <a:cubicBezTo>
                      <a:pt x="374" y="12"/>
                      <a:pt x="367" y="23"/>
                      <a:pt x="363" y="29"/>
                    </a:cubicBezTo>
                    <a:cubicBezTo>
                      <a:pt x="362" y="30"/>
                      <a:pt x="362" y="30"/>
                      <a:pt x="362" y="30"/>
                    </a:cubicBezTo>
                    <a:cubicBezTo>
                      <a:pt x="360" y="34"/>
                      <a:pt x="358" y="41"/>
                      <a:pt x="362" y="47"/>
                    </a:cubicBezTo>
                    <a:cubicBezTo>
                      <a:pt x="366" y="55"/>
                      <a:pt x="358" y="78"/>
                      <a:pt x="352" y="91"/>
                    </a:cubicBezTo>
                    <a:cubicBezTo>
                      <a:pt x="349" y="99"/>
                      <a:pt x="335" y="119"/>
                      <a:pt x="333" y="123"/>
                    </a:cubicBezTo>
                    <a:cubicBezTo>
                      <a:pt x="328" y="138"/>
                      <a:pt x="319" y="136"/>
                      <a:pt x="311" y="135"/>
                    </a:cubicBezTo>
                    <a:cubicBezTo>
                      <a:pt x="309" y="134"/>
                      <a:pt x="307" y="134"/>
                      <a:pt x="304" y="134"/>
                    </a:cubicBezTo>
                    <a:cubicBezTo>
                      <a:pt x="302" y="134"/>
                      <a:pt x="300" y="133"/>
                      <a:pt x="297" y="133"/>
                    </a:cubicBezTo>
                    <a:cubicBezTo>
                      <a:pt x="290" y="132"/>
                      <a:pt x="272" y="130"/>
                      <a:pt x="270" y="132"/>
                    </a:cubicBezTo>
                    <a:cubicBezTo>
                      <a:pt x="267" y="135"/>
                      <a:pt x="262" y="146"/>
                      <a:pt x="258" y="153"/>
                    </a:cubicBezTo>
                    <a:cubicBezTo>
                      <a:pt x="254" y="161"/>
                      <a:pt x="251" y="165"/>
                      <a:pt x="250" y="167"/>
                    </a:cubicBezTo>
                    <a:cubicBezTo>
                      <a:pt x="247" y="170"/>
                      <a:pt x="241" y="171"/>
                      <a:pt x="229" y="171"/>
                    </a:cubicBezTo>
                    <a:cubicBezTo>
                      <a:pt x="225" y="171"/>
                      <a:pt x="221" y="171"/>
                      <a:pt x="217" y="172"/>
                    </a:cubicBezTo>
                    <a:cubicBezTo>
                      <a:pt x="210" y="173"/>
                      <a:pt x="196" y="169"/>
                      <a:pt x="185" y="166"/>
                    </a:cubicBezTo>
                    <a:cubicBezTo>
                      <a:pt x="180" y="165"/>
                      <a:pt x="175" y="163"/>
                      <a:pt x="173" y="163"/>
                    </a:cubicBezTo>
                    <a:cubicBezTo>
                      <a:pt x="169" y="162"/>
                      <a:pt x="168" y="164"/>
                      <a:pt x="165" y="166"/>
                    </a:cubicBezTo>
                    <a:cubicBezTo>
                      <a:pt x="164" y="167"/>
                      <a:pt x="163" y="168"/>
                      <a:pt x="161" y="169"/>
                    </a:cubicBezTo>
                    <a:cubicBezTo>
                      <a:pt x="159" y="171"/>
                      <a:pt x="156" y="173"/>
                      <a:pt x="153" y="174"/>
                    </a:cubicBezTo>
                    <a:cubicBezTo>
                      <a:pt x="149" y="175"/>
                      <a:pt x="145" y="177"/>
                      <a:pt x="142" y="180"/>
                    </a:cubicBezTo>
                    <a:cubicBezTo>
                      <a:pt x="136" y="186"/>
                      <a:pt x="128" y="186"/>
                      <a:pt x="124" y="186"/>
                    </a:cubicBezTo>
                    <a:cubicBezTo>
                      <a:pt x="123" y="186"/>
                      <a:pt x="123" y="186"/>
                      <a:pt x="122" y="186"/>
                    </a:cubicBezTo>
                    <a:cubicBezTo>
                      <a:pt x="120" y="189"/>
                      <a:pt x="117" y="193"/>
                      <a:pt x="115" y="195"/>
                    </a:cubicBezTo>
                    <a:cubicBezTo>
                      <a:pt x="112" y="198"/>
                      <a:pt x="108" y="202"/>
                      <a:pt x="108" y="204"/>
                    </a:cubicBezTo>
                    <a:cubicBezTo>
                      <a:pt x="108" y="207"/>
                      <a:pt x="106" y="212"/>
                      <a:pt x="103" y="219"/>
                    </a:cubicBezTo>
                    <a:cubicBezTo>
                      <a:pt x="101" y="222"/>
                      <a:pt x="100" y="225"/>
                      <a:pt x="100" y="227"/>
                    </a:cubicBezTo>
                    <a:cubicBezTo>
                      <a:pt x="100" y="227"/>
                      <a:pt x="99" y="229"/>
                      <a:pt x="99" y="231"/>
                    </a:cubicBezTo>
                    <a:cubicBezTo>
                      <a:pt x="95" y="252"/>
                      <a:pt x="91" y="265"/>
                      <a:pt x="83" y="267"/>
                    </a:cubicBezTo>
                    <a:cubicBezTo>
                      <a:pt x="78" y="267"/>
                      <a:pt x="78" y="268"/>
                      <a:pt x="75" y="275"/>
                    </a:cubicBezTo>
                    <a:cubicBezTo>
                      <a:pt x="74" y="276"/>
                      <a:pt x="74" y="278"/>
                      <a:pt x="73" y="279"/>
                    </a:cubicBezTo>
                    <a:cubicBezTo>
                      <a:pt x="72" y="282"/>
                      <a:pt x="72" y="285"/>
                      <a:pt x="72" y="287"/>
                    </a:cubicBezTo>
                    <a:cubicBezTo>
                      <a:pt x="72" y="290"/>
                      <a:pt x="72" y="293"/>
                      <a:pt x="70" y="295"/>
                    </a:cubicBezTo>
                    <a:cubicBezTo>
                      <a:pt x="67" y="297"/>
                      <a:pt x="64" y="296"/>
                      <a:pt x="59" y="295"/>
                    </a:cubicBezTo>
                    <a:cubicBezTo>
                      <a:pt x="53" y="294"/>
                      <a:pt x="47" y="290"/>
                      <a:pt x="42" y="287"/>
                    </a:cubicBezTo>
                    <a:cubicBezTo>
                      <a:pt x="39" y="285"/>
                      <a:pt x="34" y="281"/>
                      <a:pt x="33" y="282"/>
                    </a:cubicBezTo>
                    <a:cubicBezTo>
                      <a:pt x="31" y="283"/>
                      <a:pt x="31" y="286"/>
                      <a:pt x="31" y="288"/>
                    </a:cubicBezTo>
                    <a:cubicBezTo>
                      <a:pt x="30" y="292"/>
                      <a:pt x="29" y="299"/>
                      <a:pt x="21" y="299"/>
                    </a:cubicBezTo>
                    <a:cubicBezTo>
                      <a:pt x="20" y="299"/>
                      <a:pt x="20" y="299"/>
                      <a:pt x="20" y="299"/>
                    </a:cubicBezTo>
                    <a:cubicBezTo>
                      <a:pt x="15" y="299"/>
                      <a:pt x="6" y="298"/>
                      <a:pt x="0" y="298"/>
                    </a:cubicBezTo>
                    <a:cubicBezTo>
                      <a:pt x="3" y="303"/>
                      <a:pt x="5" y="311"/>
                      <a:pt x="7" y="320"/>
                    </a:cubicBezTo>
                    <a:cubicBezTo>
                      <a:pt x="8" y="321"/>
                      <a:pt x="8" y="322"/>
                      <a:pt x="8" y="323"/>
                    </a:cubicBezTo>
                    <a:cubicBezTo>
                      <a:pt x="10" y="329"/>
                      <a:pt x="11" y="330"/>
                      <a:pt x="12" y="331"/>
                    </a:cubicBezTo>
                    <a:cubicBezTo>
                      <a:pt x="14" y="330"/>
                      <a:pt x="17" y="331"/>
                      <a:pt x="19" y="334"/>
                    </a:cubicBezTo>
                    <a:cubicBezTo>
                      <a:pt x="22" y="337"/>
                      <a:pt x="22" y="343"/>
                      <a:pt x="20" y="348"/>
                    </a:cubicBezTo>
                    <a:cubicBezTo>
                      <a:pt x="19" y="351"/>
                      <a:pt x="15" y="358"/>
                      <a:pt x="11" y="364"/>
                    </a:cubicBezTo>
                    <a:cubicBezTo>
                      <a:pt x="42" y="358"/>
                      <a:pt x="122" y="345"/>
                      <a:pt x="128" y="345"/>
                    </a:cubicBezTo>
                    <a:cubicBezTo>
                      <a:pt x="131" y="344"/>
                      <a:pt x="135" y="343"/>
                      <a:pt x="137" y="342"/>
                    </a:cubicBezTo>
                    <a:cubicBezTo>
                      <a:pt x="136" y="337"/>
                      <a:pt x="136" y="329"/>
                      <a:pt x="139" y="325"/>
                    </a:cubicBezTo>
                    <a:cubicBezTo>
                      <a:pt x="140" y="324"/>
                      <a:pt x="141" y="323"/>
                      <a:pt x="143" y="323"/>
                    </a:cubicBezTo>
                    <a:cubicBezTo>
                      <a:pt x="147" y="322"/>
                      <a:pt x="163" y="318"/>
                      <a:pt x="174" y="316"/>
                    </a:cubicBezTo>
                    <a:cubicBezTo>
                      <a:pt x="178" y="315"/>
                      <a:pt x="182" y="314"/>
                      <a:pt x="184" y="314"/>
                    </a:cubicBezTo>
                    <a:cubicBezTo>
                      <a:pt x="201" y="310"/>
                      <a:pt x="231" y="304"/>
                      <a:pt x="253" y="302"/>
                    </a:cubicBezTo>
                    <a:cubicBezTo>
                      <a:pt x="263" y="301"/>
                      <a:pt x="333" y="291"/>
                      <a:pt x="406" y="280"/>
                    </a:cubicBezTo>
                    <a:cubicBezTo>
                      <a:pt x="480" y="268"/>
                      <a:pt x="556" y="257"/>
                      <a:pt x="586" y="253"/>
                    </a:cubicBezTo>
                    <a:cubicBezTo>
                      <a:pt x="591" y="245"/>
                      <a:pt x="602" y="231"/>
                      <a:pt x="609"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8">
                <a:extLst>
                  <a:ext uri="{FF2B5EF4-FFF2-40B4-BE49-F238E27FC236}">
                    <a16:creationId xmlns:a16="http://schemas.microsoft.com/office/drawing/2014/main" id="{F220E689-3FDA-43C6-B6FD-6C795B5F4775}"/>
                  </a:ext>
                </a:extLst>
              </p:cNvPr>
              <p:cNvSpPr>
                <a:spLocks/>
              </p:cNvSpPr>
              <p:nvPr/>
            </p:nvSpPr>
            <p:spPr bwMode="auto">
              <a:xfrm>
                <a:off x="3426" y="1996"/>
                <a:ext cx="799" cy="421"/>
              </a:xfrm>
              <a:custGeom>
                <a:avLst/>
                <a:gdLst>
                  <a:gd name="T0" fmla="*/ 0 w 680"/>
                  <a:gd name="T1" fmla="*/ 3 h 357"/>
                  <a:gd name="T2" fmla="*/ 0 w 680"/>
                  <a:gd name="T3" fmla="*/ 357 h 357"/>
                  <a:gd name="T4" fmla="*/ 680 w 680"/>
                  <a:gd name="T5" fmla="*/ 357 h 357"/>
                  <a:gd name="T6" fmla="*/ 680 w 680"/>
                  <a:gd name="T7" fmla="*/ 107 h 357"/>
                  <a:gd name="T8" fmla="*/ 636 w 680"/>
                  <a:gd name="T9" fmla="*/ 90 h 357"/>
                  <a:gd name="T10" fmla="*/ 628 w 680"/>
                  <a:gd name="T11" fmla="*/ 82 h 357"/>
                  <a:gd name="T12" fmla="*/ 619 w 680"/>
                  <a:gd name="T13" fmla="*/ 51 h 357"/>
                  <a:gd name="T14" fmla="*/ 638 w 680"/>
                  <a:gd name="T15" fmla="*/ 9 h 357"/>
                  <a:gd name="T16" fmla="*/ 637 w 680"/>
                  <a:gd name="T17" fmla="*/ 9 h 357"/>
                  <a:gd name="T18" fmla="*/ 621 w 680"/>
                  <a:gd name="T19" fmla="*/ 11 h 357"/>
                  <a:gd name="T20" fmla="*/ 585 w 680"/>
                  <a:gd name="T21" fmla="*/ 8 h 357"/>
                  <a:gd name="T22" fmla="*/ 582 w 680"/>
                  <a:gd name="T23" fmla="*/ 8 h 357"/>
                  <a:gd name="T24" fmla="*/ 0 w 680"/>
                  <a:gd name="T25" fmla="*/ 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0" h="357">
                    <a:moveTo>
                      <a:pt x="0" y="3"/>
                    </a:moveTo>
                    <a:cubicBezTo>
                      <a:pt x="0" y="357"/>
                      <a:pt x="0" y="357"/>
                      <a:pt x="0" y="357"/>
                    </a:cubicBezTo>
                    <a:cubicBezTo>
                      <a:pt x="680" y="357"/>
                      <a:pt x="680" y="357"/>
                      <a:pt x="680" y="357"/>
                    </a:cubicBezTo>
                    <a:cubicBezTo>
                      <a:pt x="680" y="107"/>
                      <a:pt x="680" y="107"/>
                      <a:pt x="680" y="107"/>
                    </a:cubicBezTo>
                    <a:cubicBezTo>
                      <a:pt x="670" y="106"/>
                      <a:pt x="647" y="102"/>
                      <a:pt x="636" y="90"/>
                    </a:cubicBezTo>
                    <a:cubicBezTo>
                      <a:pt x="633" y="87"/>
                      <a:pt x="631" y="85"/>
                      <a:pt x="628" y="82"/>
                    </a:cubicBezTo>
                    <a:cubicBezTo>
                      <a:pt x="619" y="73"/>
                      <a:pt x="610" y="64"/>
                      <a:pt x="619" y="51"/>
                    </a:cubicBezTo>
                    <a:cubicBezTo>
                      <a:pt x="632" y="34"/>
                      <a:pt x="641" y="12"/>
                      <a:pt x="638" y="9"/>
                    </a:cubicBezTo>
                    <a:cubicBezTo>
                      <a:pt x="638" y="9"/>
                      <a:pt x="638" y="9"/>
                      <a:pt x="637" y="9"/>
                    </a:cubicBezTo>
                    <a:cubicBezTo>
                      <a:pt x="633" y="9"/>
                      <a:pt x="627" y="10"/>
                      <a:pt x="621" y="11"/>
                    </a:cubicBezTo>
                    <a:cubicBezTo>
                      <a:pt x="606" y="14"/>
                      <a:pt x="592" y="16"/>
                      <a:pt x="585" y="8"/>
                    </a:cubicBezTo>
                    <a:cubicBezTo>
                      <a:pt x="585" y="8"/>
                      <a:pt x="584" y="8"/>
                      <a:pt x="582" y="8"/>
                    </a:cubicBezTo>
                    <a:cubicBezTo>
                      <a:pt x="526" y="0"/>
                      <a:pt x="49"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89">
                <a:extLst>
                  <a:ext uri="{FF2B5EF4-FFF2-40B4-BE49-F238E27FC236}">
                    <a16:creationId xmlns:a16="http://schemas.microsoft.com/office/drawing/2014/main" id="{DD1851A5-B610-4A4C-8A67-AAE07FC2E831}"/>
                  </a:ext>
                </a:extLst>
              </p:cNvPr>
              <p:cNvSpPr>
                <a:spLocks/>
              </p:cNvSpPr>
              <p:nvPr/>
            </p:nvSpPr>
            <p:spPr bwMode="auto">
              <a:xfrm>
                <a:off x="5200" y="1457"/>
                <a:ext cx="443" cy="570"/>
              </a:xfrm>
              <a:custGeom>
                <a:avLst/>
                <a:gdLst>
                  <a:gd name="T0" fmla="*/ 13 w 377"/>
                  <a:gd name="T1" fmla="*/ 130 h 484"/>
                  <a:gd name="T2" fmla="*/ 0 w 377"/>
                  <a:gd name="T3" fmla="*/ 130 h 484"/>
                  <a:gd name="T4" fmla="*/ 9 w 377"/>
                  <a:gd name="T5" fmla="*/ 205 h 484"/>
                  <a:gd name="T6" fmla="*/ 19 w 377"/>
                  <a:gd name="T7" fmla="*/ 265 h 484"/>
                  <a:gd name="T8" fmla="*/ 22 w 377"/>
                  <a:gd name="T9" fmla="*/ 327 h 484"/>
                  <a:gd name="T10" fmla="*/ 30 w 377"/>
                  <a:gd name="T11" fmla="*/ 359 h 484"/>
                  <a:gd name="T12" fmla="*/ 35 w 377"/>
                  <a:gd name="T13" fmla="*/ 417 h 484"/>
                  <a:gd name="T14" fmla="*/ 71 w 377"/>
                  <a:gd name="T15" fmla="*/ 465 h 484"/>
                  <a:gd name="T16" fmla="*/ 108 w 377"/>
                  <a:gd name="T17" fmla="*/ 484 h 484"/>
                  <a:gd name="T18" fmla="*/ 159 w 377"/>
                  <a:gd name="T19" fmla="*/ 476 h 484"/>
                  <a:gd name="T20" fmla="*/ 196 w 377"/>
                  <a:gd name="T21" fmla="*/ 450 h 484"/>
                  <a:gd name="T22" fmla="*/ 259 w 377"/>
                  <a:gd name="T23" fmla="*/ 442 h 484"/>
                  <a:gd name="T24" fmla="*/ 279 w 377"/>
                  <a:gd name="T25" fmla="*/ 423 h 484"/>
                  <a:gd name="T26" fmla="*/ 284 w 377"/>
                  <a:gd name="T27" fmla="*/ 414 h 484"/>
                  <a:gd name="T28" fmla="*/ 311 w 377"/>
                  <a:gd name="T29" fmla="*/ 370 h 484"/>
                  <a:gd name="T30" fmla="*/ 321 w 377"/>
                  <a:gd name="T31" fmla="*/ 384 h 484"/>
                  <a:gd name="T32" fmla="*/ 329 w 377"/>
                  <a:gd name="T33" fmla="*/ 349 h 484"/>
                  <a:gd name="T34" fmla="*/ 323 w 377"/>
                  <a:gd name="T35" fmla="*/ 325 h 484"/>
                  <a:gd name="T36" fmla="*/ 350 w 377"/>
                  <a:gd name="T37" fmla="*/ 297 h 484"/>
                  <a:gd name="T38" fmla="*/ 353 w 377"/>
                  <a:gd name="T39" fmla="*/ 316 h 484"/>
                  <a:gd name="T40" fmla="*/ 371 w 377"/>
                  <a:gd name="T41" fmla="*/ 279 h 484"/>
                  <a:gd name="T42" fmla="*/ 372 w 377"/>
                  <a:gd name="T43" fmla="*/ 246 h 484"/>
                  <a:gd name="T44" fmla="*/ 369 w 377"/>
                  <a:gd name="T45" fmla="*/ 206 h 484"/>
                  <a:gd name="T46" fmla="*/ 377 w 377"/>
                  <a:gd name="T47" fmla="*/ 147 h 484"/>
                  <a:gd name="T48" fmla="*/ 367 w 377"/>
                  <a:gd name="T49" fmla="*/ 81 h 484"/>
                  <a:gd name="T50" fmla="*/ 366 w 377"/>
                  <a:gd name="T51" fmla="*/ 58 h 484"/>
                  <a:gd name="T52" fmla="*/ 357 w 377"/>
                  <a:gd name="T53" fmla="*/ 11 h 484"/>
                  <a:gd name="T54" fmla="*/ 356 w 377"/>
                  <a:gd name="T55" fmla="*/ 0 h 484"/>
                  <a:gd name="T56" fmla="*/ 226 w 377"/>
                  <a:gd name="T57" fmla="*/ 108 h 484"/>
                  <a:gd name="T58" fmla="*/ 187 w 377"/>
                  <a:gd name="T59" fmla="*/ 112 h 484"/>
                  <a:gd name="T60" fmla="*/ 136 w 377"/>
                  <a:gd name="T61" fmla="*/ 111 h 484"/>
                  <a:gd name="T62" fmla="*/ 112 w 377"/>
                  <a:gd name="T63" fmla="*/ 109 h 484"/>
                  <a:gd name="T64" fmla="*/ 16 w 377"/>
                  <a:gd name="T65" fmla="*/ 12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 h="484">
                    <a:moveTo>
                      <a:pt x="16" y="129"/>
                    </a:moveTo>
                    <a:cubicBezTo>
                      <a:pt x="15" y="129"/>
                      <a:pt x="14" y="130"/>
                      <a:pt x="13" y="130"/>
                    </a:cubicBezTo>
                    <a:cubicBezTo>
                      <a:pt x="13" y="130"/>
                      <a:pt x="13" y="130"/>
                      <a:pt x="13" y="130"/>
                    </a:cubicBezTo>
                    <a:cubicBezTo>
                      <a:pt x="9" y="130"/>
                      <a:pt x="5" y="130"/>
                      <a:pt x="0" y="130"/>
                    </a:cubicBezTo>
                    <a:cubicBezTo>
                      <a:pt x="3" y="187"/>
                      <a:pt x="3" y="187"/>
                      <a:pt x="3" y="187"/>
                    </a:cubicBezTo>
                    <a:cubicBezTo>
                      <a:pt x="9" y="205"/>
                      <a:pt x="9" y="205"/>
                      <a:pt x="9" y="205"/>
                    </a:cubicBezTo>
                    <a:cubicBezTo>
                      <a:pt x="11" y="209"/>
                      <a:pt x="17" y="227"/>
                      <a:pt x="14" y="236"/>
                    </a:cubicBezTo>
                    <a:cubicBezTo>
                      <a:pt x="13" y="240"/>
                      <a:pt x="16" y="255"/>
                      <a:pt x="19" y="265"/>
                    </a:cubicBezTo>
                    <a:cubicBezTo>
                      <a:pt x="19" y="267"/>
                      <a:pt x="22" y="283"/>
                      <a:pt x="22" y="288"/>
                    </a:cubicBezTo>
                    <a:cubicBezTo>
                      <a:pt x="22" y="327"/>
                      <a:pt x="22" y="327"/>
                      <a:pt x="22" y="327"/>
                    </a:cubicBezTo>
                    <a:cubicBezTo>
                      <a:pt x="30" y="358"/>
                      <a:pt x="30" y="358"/>
                      <a:pt x="30" y="358"/>
                    </a:cubicBezTo>
                    <a:cubicBezTo>
                      <a:pt x="30" y="359"/>
                      <a:pt x="30" y="359"/>
                      <a:pt x="30" y="359"/>
                    </a:cubicBezTo>
                    <a:cubicBezTo>
                      <a:pt x="30" y="392"/>
                      <a:pt x="30" y="392"/>
                      <a:pt x="30" y="392"/>
                    </a:cubicBezTo>
                    <a:cubicBezTo>
                      <a:pt x="30" y="395"/>
                      <a:pt x="32" y="408"/>
                      <a:pt x="35" y="417"/>
                    </a:cubicBezTo>
                    <a:cubicBezTo>
                      <a:pt x="39" y="425"/>
                      <a:pt x="41" y="446"/>
                      <a:pt x="42" y="454"/>
                    </a:cubicBezTo>
                    <a:cubicBezTo>
                      <a:pt x="48" y="455"/>
                      <a:pt x="60" y="457"/>
                      <a:pt x="71" y="465"/>
                    </a:cubicBezTo>
                    <a:cubicBezTo>
                      <a:pt x="73" y="467"/>
                      <a:pt x="75" y="469"/>
                      <a:pt x="78" y="471"/>
                    </a:cubicBezTo>
                    <a:cubicBezTo>
                      <a:pt x="87" y="478"/>
                      <a:pt x="95" y="484"/>
                      <a:pt x="108" y="484"/>
                    </a:cubicBezTo>
                    <a:cubicBezTo>
                      <a:pt x="111" y="484"/>
                      <a:pt x="114" y="484"/>
                      <a:pt x="118" y="483"/>
                    </a:cubicBezTo>
                    <a:cubicBezTo>
                      <a:pt x="133" y="483"/>
                      <a:pt x="154" y="483"/>
                      <a:pt x="159" y="476"/>
                    </a:cubicBezTo>
                    <a:cubicBezTo>
                      <a:pt x="164" y="471"/>
                      <a:pt x="173" y="465"/>
                      <a:pt x="182" y="460"/>
                    </a:cubicBezTo>
                    <a:cubicBezTo>
                      <a:pt x="188" y="456"/>
                      <a:pt x="195" y="452"/>
                      <a:pt x="196" y="450"/>
                    </a:cubicBezTo>
                    <a:cubicBezTo>
                      <a:pt x="202" y="442"/>
                      <a:pt x="206" y="442"/>
                      <a:pt x="210" y="442"/>
                    </a:cubicBezTo>
                    <a:cubicBezTo>
                      <a:pt x="259" y="442"/>
                      <a:pt x="259" y="442"/>
                      <a:pt x="259" y="442"/>
                    </a:cubicBezTo>
                    <a:cubicBezTo>
                      <a:pt x="260" y="442"/>
                      <a:pt x="264" y="441"/>
                      <a:pt x="265" y="439"/>
                    </a:cubicBezTo>
                    <a:cubicBezTo>
                      <a:pt x="267" y="435"/>
                      <a:pt x="273" y="425"/>
                      <a:pt x="279" y="423"/>
                    </a:cubicBezTo>
                    <a:cubicBezTo>
                      <a:pt x="281" y="423"/>
                      <a:pt x="282" y="422"/>
                      <a:pt x="284" y="420"/>
                    </a:cubicBezTo>
                    <a:cubicBezTo>
                      <a:pt x="285" y="418"/>
                      <a:pt x="285" y="416"/>
                      <a:pt x="284" y="414"/>
                    </a:cubicBezTo>
                    <a:cubicBezTo>
                      <a:pt x="280" y="400"/>
                      <a:pt x="277" y="382"/>
                      <a:pt x="284" y="376"/>
                    </a:cubicBezTo>
                    <a:cubicBezTo>
                      <a:pt x="297" y="364"/>
                      <a:pt x="306" y="366"/>
                      <a:pt x="311" y="370"/>
                    </a:cubicBezTo>
                    <a:cubicBezTo>
                      <a:pt x="315" y="373"/>
                      <a:pt x="317" y="377"/>
                      <a:pt x="319" y="380"/>
                    </a:cubicBezTo>
                    <a:cubicBezTo>
                      <a:pt x="320" y="382"/>
                      <a:pt x="321" y="384"/>
                      <a:pt x="321" y="384"/>
                    </a:cubicBezTo>
                    <a:cubicBezTo>
                      <a:pt x="326" y="382"/>
                      <a:pt x="331" y="376"/>
                      <a:pt x="333" y="368"/>
                    </a:cubicBezTo>
                    <a:cubicBezTo>
                      <a:pt x="335" y="360"/>
                      <a:pt x="333" y="354"/>
                      <a:pt x="329" y="349"/>
                    </a:cubicBezTo>
                    <a:cubicBezTo>
                      <a:pt x="327" y="347"/>
                      <a:pt x="327" y="347"/>
                      <a:pt x="327" y="347"/>
                    </a:cubicBezTo>
                    <a:cubicBezTo>
                      <a:pt x="322" y="342"/>
                      <a:pt x="318" y="337"/>
                      <a:pt x="323" y="325"/>
                    </a:cubicBezTo>
                    <a:cubicBezTo>
                      <a:pt x="325" y="319"/>
                      <a:pt x="334" y="300"/>
                      <a:pt x="341" y="297"/>
                    </a:cubicBezTo>
                    <a:cubicBezTo>
                      <a:pt x="342" y="297"/>
                      <a:pt x="346" y="295"/>
                      <a:pt x="350" y="297"/>
                    </a:cubicBezTo>
                    <a:cubicBezTo>
                      <a:pt x="353" y="299"/>
                      <a:pt x="353" y="304"/>
                      <a:pt x="353" y="307"/>
                    </a:cubicBezTo>
                    <a:cubicBezTo>
                      <a:pt x="353" y="312"/>
                      <a:pt x="353" y="315"/>
                      <a:pt x="353" y="316"/>
                    </a:cubicBezTo>
                    <a:cubicBezTo>
                      <a:pt x="354" y="316"/>
                      <a:pt x="354" y="316"/>
                      <a:pt x="354" y="316"/>
                    </a:cubicBezTo>
                    <a:cubicBezTo>
                      <a:pt x="360" y="311"/>
                      <a:pt x="371" y="290"/>
                      <a:pt x="371" y="279"/>
                    </a:cubicBezTo>
                    <a:cubicBezTo>
                      <a:pt x="372" y="274"/>
                      <a:pt x="372" y="270"/>
                      <a:pt x="373" y="266"/>
                    </a:cubicBezTo>
                    <a:cubicBezTo>
                      <a:pt x="375" y="259"/>
                      <a:pt x="376" y="253"/>
                      <a:pt x="372" y="246"/>
                    </a:cubicBezTo>
                    <a:cubicBezTo>
                      <a:pt x="366" y="235"/>
                      <a:pt x="367" y="221"/>
                      <a:pt x="368" y="212"/>
                    </a:cubicBezTo>
                    <a:cubicBezTo>
                      <a:pt x="369" y="210"/>
                      <a:pt x="369" y="208"/>
                      <a:pt x="369" y="206"/>
                    </a:cubicBezTo>
                    <a:cubicBezTo>
                      <a:pt x="370" y="198"/>
                      <a:pt x="372" y="184"/>
                      <a:pt x="375" y="176"/>
                    </a:cubicBezTo>
                    <a:cubicBezTo>
                      <a:pt x="377" y="169"/>
                      <a:pt x="377" y="157"/>
                      <a:pt x="377" y="147"/>
                    </a:cubicBezTo>
                    <a:cubicBezTo>
                      <a:pt x="377" y="143"/>
                      <a:pt x="377" y="143"/>
                      <a:pt x="377" y="143"/>
                    </a:cubicBezTo>
                    <a:cubicBezTo>
                      <a:pt x="377" y="134"/>
                      <a:pt x="368" y="85"/>
                      <a:pt x="367" y="81"/>
                    </a:cubicBezTo>
                    <a:cubicBezTo>
                      <a:pt x="367" y="79"/>
                      <a:pt x="367" y="75"/>
                      <a:pt x="366" y="70"/>
                    </a:cubicBezTo>
                    <a:cubicBezTo>
                      <a:pt x="366" y="66"/>
                      <a:pt x="366" y="62"/>
                      <a:pt x="366" y="58"/>
                    </a:cubicBezTo>
                    <a:cubicBezTo>
                      <a:pt x="364" y="49"/>
                      <a:pt x="363" y="44"/>
                      <a:pt x="361" y="38"/>
                    </a:cubicBezTo>
                    <a:cubicBezTo>
                      <a:pt x="359" y="32"/>
                      <a:pt x="357" y="18"/>
                      <a:pt x="357" y="11"/>
                    </a:cubicBezTo>
                    <a:cubicBezTo>
                      <a:pt x="356" y="9"/>
                      <a:pt x="356" y="9"/>
                      <a:pt x="356" y="9"/>
                    </a:cubicBezTo>
                    <a:cubicBezTo>
                      <a:pt x="356" y="7"/>
                      <a:pt x="356" y="3"/>
                      <a:pt x="356" y="0"/>
                    </a:cubicBezTo>
                    <a:cubicBezTo>
                      <a:pt x="325" y="26"/>
                      <a:pt x="286" y="61"/>
                      <a:pt x="272" y="81"/>
                    </a:cubicBezTo>
                    <a:cubicBezTo>
                      <a:pt x="255" y="105"/>
                      <a:pt x="238" y="107"/>
                      <a:pt x="226" y="108"/>
                    </a:cubicBezTo>
                    <a:cubicBezTo>
                      <a:pt x="223" y="109"/>
                      <a:pt x="220" y="109"/>
                      <a:pt x="217" y="110"/>
                    </a:cubicBezTo>
                    <a:cubicBezTo>
                      <a:pt x="212" y="111"/>
                      <a:pt x="203" y="112"/>
                      <a:pt x="187" y="112"/>
                    </a:cubicBezTo>
                    <a:cubicBezTo>
                      <a:pt x="178" y="112"/>
                      <a:pt x="169" y="112"/>
                      <a:pt x="159" y="112"/>
                    </a:cubicBezTo>
                    <a:cubicBezTo>
                      <a:pt x="151" y="112"/>
                      <a:pt x="143" y="111"/>
                      <a:pt x="136" y="111"/>
                    </a:cubicBezTo>
                    <a:cubicBezTo>
                      <a:pt x="130" y="111"/>
                      <a:pt x="125" y="111"/>
                      <a:pt x="122" y="112"/>
                    </a:cubicBezTo>
                    <a:cubicBezTo>
                      <a:pt x="117" y="112"/>
                      <a:pt x="114" y="111"/>
                      <a:pt x="112" y="109"/>
                    </a:cubicBezTo>
                    <a:cubicBezTo>
                      <a:pt x="101" y="111"/>
                      <a:pt x="55" y="121"/>
                      <a:pt x="39" y="121"/>
                    </a:cubicBezTo>
                    <a:cubicBezTo>
                      <a:pt x="24" y="121"/>
                      <a:pt x="16" y="129"/>
                      <a:pt x="16" y="1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0">
                <a:extLst>
                  <a:ext uri="{FF2B5EF4-FFF2-40B4-BE49-F238E27FC236}">
                    <a16:creationId xmlns:a16="http://schemas.microsoft.com/office/drawing/2014/main" id="{CE0DC5A2-48B5-41E0-B1A4-F7271FC3946D}"/>
                  </a:ext>
                </a:extLst>
              </p:cNvPr>
              <p:cNvSpPr>
                <a:spLocks/>
              </p:cNvSpPr>
              <p:nvPr/>
            </p:nvSpPr>
            <p:spPr bwMode="auto">
              <a:xfrm>
                <a:off x="4086" y="1923"/>
                <a:ext cx="715" cy="570"/>
              </a:xfrm>
              <a:custGeom>
                <a:avLst/>
                <a:gdLst>
                  <a:gd name="T0" fmla="*/ 29 w 608"/>
                  <a:gd name="T1" fmla="*/ 65 h 484"/>
                  <a:gd name="T2" fmla="*/ 57 w 608"/>
                  <a:gd name="T3" fmla="*/ 65 h 484"/>
                  <a:gd name="T4" fmla="*/ 75 w 608"/>
                  <a:gd name="T5" fmla="*/ 63 h 484"/>
                  <a:gd name="T6" fmla="*/ 84 w 608"/>
                  <a:gd name="T7" fmla="*/ 68 h 484"/>
                  <a:gd name="T8" fmla="*/ 64 w 608"/>
                  <a:gd name="T9" fmla="*/ 118 h 484"/>
                  <a:gd name="T10" fmla="*/ 72 w 608"/>
                  <a:gd name="T11" fmla="*/ 139 h 484"/>
                  <a:gd name="T12" fmla="*/ 80 w 608"/>
                  <a:gd name="T13" fmla="*/ 146 h 484"/>
                  <a:gd name="T14" fmla="*/ 122 w 608"/>
                  <a:gd name="T15" fmla="*/ 161 h 484"/>
                  <a:gd name="T16" fmla="*/ 126 w 608"/>
                  <a:gd name="T17" fmla="*/ 165 h 484"/>
                  <a:gd name="T18" fmla="*/ 126 w 608"/>
                  <a:gd name="T19" fmla="*/ 423 h 484"/>
                  <a:gd name="T20" fmla="*/ 126 w 608"/>
                  <a:gd name="T21" fmla="*/ 451 h 484"/>
                  <a:gd name="T22" fmla="*/ 543 w 608"/>
                  <a:gd name="T23" fmla="*/ 441 h 484"/>
                  <a:gd name="T24" fmla="*/ 547 w 608"/>
                  <a:gd name="T25" fmla="*/ 444 h 484"/>
                  <a:gd name="T26" fmla="*/ 552 w 608"/>
                  <a:gd name="T27" fmla="*/ 477 h 484"/>
                  <a:gd name="T28" fmla="*/ 552 w 608"/>
                  <a:gd name="T29" fmla="*/ 484 h 484"/>
                  <a:gd name="T30" fmla="*/ 570 w 608"/>
                  <a:gd name="T31" fmla="*/ 445 h 484"/>
                  <a:gd name="T32" fmla="*/ 585 w 608"/>
                  <a:gd name="T33" fmla="*/ 426 h 484"/>
                  <a:gd name="T34" fmla="*/ 592 w 608"/>
                  <a:gd name="T35" fmla="*/ 420 h 484"/>
                  <a:gd name="T36" fmla="*/ 607 w 608"/>
                  <a:gd name="T37" fmla="*/ 399 h 484"/>
                  <a:gd name="T38" fmla="*/ 606 w 608"/>
                  <a:gd name="T39" fmla="*/ 393 h 484"/>
                  <a:gd name="T40" fmla="*/ 594 w 608"/>
                  <a:gd name="T41" fmla="*/ 379 h 484"/>
                  <a:gd name="T42" fmla="*/ 594 w 608"/>
                  <a:gd name="T43" fmla="*/ 376 h 484"/>
                  <a:gd name="T44" fmla="*/ 584 w 608"/>
                  <a:gd name="T45" fmla="*/ 350 h 484"/>
                  <a:gd name="T46" fmla="*/ 584 w 608"/>
                  <a:gd name="T47" fmla="*/ 350 h 484"/>
                  <a:gd name="T48" fmla="*/ 583 w 608"/>
                  <a:gd name="T49" fmla="*/ 348 h 484"/>
                  <a:gd name="T50" fmla="*/ 500 w 608"/>
                  <a:gd name="T51" fmla="*/ 262 h 484"/>
                  <a:gd name="T52" fmla="*/ 505 w 608"/>
                  <a:gd name="T53" fmla="*/ 232 h 484"/>
                  <a:gd name="T54" fmla="*/ 511 w 608"/>
                  <a:gd name="T55" fmla="*/ 215 h 484"/>
                  <a:gd name="T56" fmla="*/ 512 w 608"/>
                  <a:gd name="T57" fmla="*/ 205 h 484"/>
                  <a:gd name="T58" fmla="*/ 502 w 608"/>
                  <a:gd name="T59" fmla="*/ 207 h 484"/>
                  <a:gd name="T60" fmla="*/ 496 w 608"/>
                  <a:gd name="T61" fmla="*/ 209 h 484"/>
                  <a:gd name="T62" fmla="*/ 473 w 608"/>
                  <a:gd name="T63" fmla="*/ 177 h 484"/>
                  <a:gd name="T64" fmla="*/ 468 w 608"/>
                  <a:gd name="T65" fmla="*/ 167 h 484"/>
                  <a:gd name="T66" fmla="*/ 447 w 608"/>
                  <a:gd name="T67" fmla="*/ 155 h 484"/>
                  <a:gd name="T68" fmla="*/ 434 w 608"/>
                  <a:gd name="T69" fmla="*/ 151 h 484"/>
                  <a:gd name="T70" fmla="*/ 394 w 608"/>
                  <a:gd name="T71" fmla="*/ 114 h 484"/>
                  <a:gd name="T72" fmla="*/ 381 w 608"/>
                  <a:gd name="T73" fmla="*/ 101 h 484"/>
                  <a:gd name="T74" fmla="*/ 359 w 608"/>
                  <a:gd name="T75" fmla="*/ 48 h 484"/>
                  <a:gd name="T76" fmla="*/ 352 w 608"/>
                  <a:gd name="T77" fmla="*/ 41 h 484"/>
                  <a:gd name="T78" fmla="*/ 341 w 608"/>
                  <a:gd name="T79" fmla="*/ 27 h 484"/>
                  <a:gd name="T80" fmla="*/ 300 w 608"/>
                  <a:gd name="T81" fmla="*/ 1 h 484"/>
                  <a:gd name="T82" fmla="*/ 0 w 608"/>
                  <a:gd name="T83" fmla="*/ 1 h 484"/>
                  <a:gd name="T84" fmla="*/ 23 w 608"/>
                  <a:gd name="T85" fmla="*/ 62 h 484"/>
                  <a:gd name="T86" fmla="*/ 29 w 608"/>
                  <a:gd name="T87" fmla="*/ 65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8" h="484">
                    <a:moveTo>
                      <a:pt x="29" y="65"/>
                    </a:moveTo>
                    <a:cubicBezTo>
                      <a:pt x="32" y="70"/>
                      <a:pt x="46" y="67"/>
                      <a:pt x="57" y="65"/>
                    </a:cubicBezTo>
                    <a:cubicBezTo>
                      <a:pt x="64" y="64"/>
                      <a:pt x="70" y="63"/>
                      <a:pt x="75" y="63"/>
                    </a:cubicBezTo>
                    <a:cubicBezTo>
                      <a:pt x="80" y="63"/>
                      <a:pt x="83" y="66"/>
                      <a:pt x="84" y="68"/>
                    </a:cubicBezTo>
                    <a:cubicBezTo>
                      <a:pt x="90" y="81"/>
                      <a:pt x="64" y="118"/>
                      <a:pt x="64" y="118"/>
                    </a:cubicBezTo>
                    <a:cubicBezTo>
                      <a:pt x="59" y="125"/>
                      <a:pt x="62" y="129"/>
                      <a:pt x="72" y="139"/>
                    </a:cubicBezTo>
                    <a:cubicBezTo>
                      <a:pt x="74" y="141"/>
                      <a:pt x="77" y="144"/>
                      <a:pt x="80" y="146"/>
                    </a:cubicBezTo>
                    <a:cubicBezTo>
                      <a:pt x="91" y="159"/>
                      <a:pt x="122" y="161"/>
                      <a:pt x="122" y="161"/>
                    </a:cubicBezTo>
                    <a:cubicBezTo>
                      <a:pt x="124" y="161"/>
                      <a:pt x="126" y="163"/>
                      <a:pt x="126" y="165"/>
                    </a:cubicBezTo>
                    <a:cubicBezTo>
                      <a:pt x="126" y="423"/>
                      <a:pt x="126" y="423"/>
                      <a:pt x="126" y="423"/>
                    </a:cubicBezTo>
                    <a:cubicBezTo>
                      <a:pt x="126" y="424"/>
                      <a:pt x="126" y="436"/>
                      <a:pt x="126" y="451"/>
                    </a:cubicBezTo>
                    <a:cubicBezTo>
                      <a:pt x="543" y="441"/>
                      <a:pt x="543" y="441"/>
                      <a:pt x="543" y="441"/>
                    </a:cubicBezTo>
                    <a:cubicBezTo>
                      <a:pt x="545" y="441"/>
                      <a:pt x="547" y="442"/>
                      <a:pt x="547" y="444"/>
                    </a:cubicBezTo>
                    <a:cubicBezTo>
                      <a:pt x="548" y="446"/>
                      <a:pt x="553" y="468"/>
                      <a:pt x="552" y="477"/>
                    </a:cubicBezTo>
                    <a:cubicBezTo>
                      <a:pt x="552" y="478"/>
                      <a:pt x="552" y="480"/>
                      <a:pt x="552" y="484"/>
                    </a:cubicBezTo>
                    <a:cubicBezTo>
                      <a:pt x="562" y="467"/>
                      <a:pt x="570" y="449"/>
                      <a:pt x="570" y="445"/>
                    </a:cubicBezTo>
                    <a:cubicBezTo>
                      <a:pt x="569" y="437"/>
                      <a:pt x="577" y="431"/>
                      <a:pt x="585" y="426"/>
                    </a:cubicBezTo>
                    <a:cubicBezTo>
                      <a:pt x="588" y="424"/>
                      <a:pt x="591" y="422"/>
                      <a:pt x="592" y="420"/>
                    </a:cubicBezTo>
                    <a:cubicBezTo>
                      <a:pt x="598" y="415"/>
                      <a:pt x="605" y="404"/>
                      <a:pt x="607" y="399"/>
                    </a:cubicBezTo>
                    <a:cubicBezTo>
                      <a:pt x="608" y="396"/>
                      <a:pt x="607" y="393"/>
                      <a:pt x="606" y="393"/>
                    </a:cubicBezTo>
                    <a:cubicBezTo>
                      <a:pt x="599" y="394"/>
                      <a:pt x="596" y="383"/>
                      <a:pt x="594" y="379"/>
                    </a:cubicBezTo>
                    <a:cubicBezTo>
                      <a:pt x="594" y="378"/>
                      <a:pt x="594" y="377"/>
                      <a:pt x="594" y="376"/>
                    </a:cubicBezTo>
                    <a:cubicBezTo>
                      <a:pt x="590" y="362"/>
                      <a:pt x="587" y="353"/>
                      <a:pt x="584" y="350"/>
                    </a:cubicBezTo>
                    <a:cubicBezTo>
                      <a:pt x="584" y="350"/>
                      <a:pt x="584" y="350"/>
                      <a:pt x="584" y="350"/>
                    </a:cubicBezTo>
                    <a:cubicBezTo>
                      <a:pt x="584" y="349"/>
                      <a:pt x="583" y="348"/>
                      <a:pt x="583" y="348"/>
                    </a:cubicBezTo>
                    <a:cubicBezTo>
                      <a:pt x="579" y="345"/>
                      <a:pt x="503" y="274"/>
                      <a:pt x="500" y="262"/>
                    </a:cubicBezTo>
                    <a:cubicBezTo>
                      <a:pt x="498" y="253"/>
                      <a:pt x="501" y="245"/>
                      <a:pt x="505" y="232"/>
                    </a:cubicBezTo>
                    <a:cubicBezTo>
                      <a:pt x="507" y="227"/>
                      <a:pt x="509" y="222"/>
                      <a:pt x="511" y="215"/>
                    </a:cubicBezTo>
                    <a:cubicBezTo>
                      <a:pt x="514" y="207"/>
                      <a:pt x="512" y="206"/>
                      <a:pt x="512" y="205"/>
                    </a:cubicBezTo>
                    <a:cubicBezTo>
                      <a:pt x="511" y="204"/>
                      <a:pt x="504" y="206"/>
                      <a:pt x="502" y="207"/>
                    </a:cubicBezTo>
                    <a:cubicBezTo>
                      <a:pt x="499" y="208"/>
                      <a:pt x="497" y="208"/>
                      <a:pt x="496" y="209"/>
                    </a:cubicBezTo>
                    <a:cubicBezTo>
                      <a:pt x="488" y="209"/>
                      <a:pt x="482" y="197"/>
                      <a:pt x="473" y="177"/>
                    </a:cubicBezTo>
                    <a:cubicBezTo>
                      <a:pt x="471" y="173"/>
                      <a:pt x="470" y="170"/>
                      <a:pt x="468" y="167"/>
                    </a:cubicBezTo>
                    <a:cubicBezTo>
                      <a:pt x="465" y="161"/>
                      <a:pt x="456" y="158"/>
                      <a:pt x="447" y="155"/>
                    </a:cubicBezTo>
                    <a:cubicBezTo>
                      <a:pt x="443" y="154"/>
                      <a:pt x="438" y="153"/>
                      <a:pt x="434" y="151"/>
                    </a:cubicBezTo>
                    <a:cubicBezTo>
                      <a:pt x="424" y="147"/>
                      <a:pt x="408" y="130"/>
                      <a:pt x="394" y="114"/>
                    </a:cubicBezTo>
                    <a:cubicBezTo>
                      <a:pt x="389" y="109"/>
                      <a:pt x="385" y="105"/>
                      <a:pt x="381" y="101"/>
                    </a:cubicBezTo>
                    <a:cubicBezTo>
                      <a:pt x="369" y="89"/>
                      <a:pt x="361" y="57"/>
                      <a:pt x="359" y="48"/>
                    </a:cubicBezTo>
                    <a:cubicBezTo>
                      <a:pt x="357" y="47"/>
                      <a:pt x="355" y="44"/>
                      <a:pt x="352" y="41"/>
                    </a:cubicBezTo>
                    <a:cubicBezTo>
                      <a:pt x="350" y="37"/>
                      <a:pt x="346" y="32"/>
                      <a:pt x="341" y="27"/>
                    </a:cubicBezTo>
                    <a:cubicBezTo>
                      <a:pt x="329" y="14"/>
                      <a:pt x="313" y="0"/>
                      <a:pt x="300" y="1"/>
                    </a:cubicBezTo>
                    <a:cubicBezTo>
                      <a:pt x="288" y="2"/>
                      <a:pt x="42" y="1"/>
                      <a:pt x="0" y="1"/>
                    </a:cubicBezTo>
                    <a:cubicBezTo>
                      <a:pt x="10" y="26"/>
                      <a:pt x="20" y="54"/>
                      <a:pt x="23" y="62"/>
                    </a:cubicBezTo>
                    <a:cubicBezTo>
                      <a:pt x="27" y="63"/>
                      <a:pt x="28" y="64"/>
                      <a:pt x="29"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91">
                <a:extLst>
                  <a:ext uri="{FF2B5EF4-FFF2-40B4-BE49-F238E27FC236}">
                    <a16:creationId xmlns:a16="http://schemas.microsoft.com/office/drawing/2014/main" id="{B6749932-91F3-4932-A40D-8F2FD248300A}"/>
                  </a:ext>
                </a:extLst>
              </p:cNvPr>
              <p:cNvSpPr>
                <a:spLocks/>
              </p:cNvSpPr>
              <p:nvPr/>
            </p:nvSpPr>
            <p:spPr bwMode="auto">
              <a:xfrm>
                <a:off x="3309" y="2426"/>
                <a:ext cx="942" cy="443"/>
              </a:xfrm>
              <a:custGeom>
                <a:avLst/>
                <a:gdLst>
                  <a:gd name="T0" fmla="*/ 295 w 801"/>
                  <a:gd name="T1" fmla="*/ 309 h 376"/>
                  <a:gd name="T2" fmla="*/ 308 w 801"/>
                  <a:gd name="T3" fmla="*/ 311 h 376"/>
                  <a:gd name="T4" fmla="*/ 364 w 801"/>
                  <a:gd name="T5" fmla="*/ 312 h 376"/>
                  <a:gd name="T6" fmla="*/ 369 w 801"/>
                  <a:gd name="T7" fmla="*/ 315 h 376"/>
                  <a:gd name="T8" fmla="*/ 419 w 801"/>
                  <a:gd name="T9" fmla="*/ 333 h 376"/>
                  <a:gd name="T10" fmla="*/ 502 w 801"/>
                  <a:gd name="T11" fmla="*/ 346 h 376"/>
                  <a:gd name="T12" fmla="*/ 508 w 801"/>
                  <a:gd name="T13" fmla="*/ 351 h 376"/>
                  <a:gd name="T14" fmla="*/ 559 w 801"/>
                  <a:gd name="T15" fmla="*/ 365 h 376"/>
                  <a:gd name="T16" fmla="*/ 593 w 801"/>
                  <a:gd name="T17" fmla="*/ 360 h 376"/>
                  <a:gd name="T18" fmla="*/ 630 w 801"/>
                  <a:gd name="T19" fmla="*/ 367 h 376"/>
                  <a:gd name="T20" fmla="*/ 642 w 801"/>
                  <a:gd name="T21" fmla="*/ 375 h 376"/>
                  <a:gd name="T22" fmla="*/ 666 w 801"/>
                  <a:gd name="T23" fmla="*/ 366 h 376"/>
                  <a:gd name="T24" fmla="*/ 745 w 801"/>
                  <a:gd name="T25" fmla="*/ 347 h 376"/>
                  <a:gd name="T26" fmla="*/ 766 w 801"/>
                  <a:gd name="T27" fmla="*/ 356 h 376"/>
                  <a:gd name="T28" fmla="*/ 783 w 801"/>
                  <a:gd name="T29" fmla="*/ 365 h 376"/>
                  <a:gd name="T30" fmla="*/ 801 w 801"/>
                  <a:gd name="T31" fmla="*/ 365 h 376"/>
                  <a:gd name="T32" fmla="*/ 801 w 801"/>
                  <a:gd name="T33" fmla="*/ 164 h 376"/>
                  <a:gd name="T34" fmla="*/ 790 w 801"/>
                  <a:gd name="T35" fmla="*/ 106 h 376"/>
                  <a:gd name="T36" fmla="*/ 786 w 801"/>
                  <a:gd name="T37" fmla="*/ 94 h 376"/>
                  <a:gd name="T38" fmla="*/ 779 w 801"/>
                  <a:gd name="T39" fmla="*/ 70 h 376"/>
                  <a:gd name="T40" fmla="*/ 779 w 801"/>
                  <a:gd name="T41" fmla="*/ 0 h 376"/>
                  <a:gd name="T42" fmla="*/ 95 w 801"/>
                  <a:gd name="T43" fmla="*/ 0 h 376"/>
                  <a:gd name="T44" fmla="*/ 0 w 801"/>
                  <a:gd name="T45" fmla="*/ 0 h 376"/>
                  <a:gd name="T46" fmla="*/ 0 w 801"/>
                  <a:gd name="T47" fmla="*/ 58 h 376"/>
                  <a:gd name="T48" fmla="*/ 282 w 801"/>
                  <a:gd name="T49" fmla="*/ 58 h 376"/>
                  <a:gd name="T50" fmla="*/ 286 w 801"/>
                  <a:gd name="T51" fmla="*/ 62 h 376"/>
                  <a:gd name="T52" fmla="*/ 286 w 801"/>
                  <a:gd name="T53" fmla="*/ 265 h 376"/>
                  <a:gd name="T54" fmla="*/ 295 w 801"/>
                  <a:gd name="T55" fmla="*/ 30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1" h="376">
                    <a:moveTo>
                      <a:pt x="295" y="309"/>
                    </a:moveTo>
                    <a:cubicBezTo>
                      <a:pt x="298" y="312"/>
                      <a:pt x="303" y="312"/>
                      <a:pt x="308" y="311"/>
                    </a:cubicBezTo>
                    <a:cubicBezTo>
                      <a:pt x="341" y="303"/>
                      <a:pt x="351" y="304"/>
                      <a:pt x="364" y="312"/>
                    </a:cubicBezTo>
                    <a:cubicBezTo>
                      <a:pt x="366" y="313"/>
                      <a:pt x="367" y="314"/>
                      <a:pt x="369" y="315"/>
                    </a:cubicBezTo>
                    <a:cubicBezTo>
                      <a:pt x="380" y="322"/>
                      <a:pt x="397" y="334"/>
                      <a:pt x="419" y="333"/>
                    </a:cubicBezTo>
                    <a:cubicBezTo>
                      <a:pt x="442" y="332"/>
                      <a:pt x="489" y="337"/>
                      <a:pt x="502" y="346"/>
                    </a:cubicBezTo>
                    <a:cubicBezTo>
                      <a:pt x="504" y="348"/>
                      <a:pt x="506" y="349"/>
                      <a:pt x="508" y="351"/>
                    </a:cubicBezTo>
                    <a:cubicBezTo>
                      <a:pt x="517" y="359"/>
                      <a:pt x="527" y="368"/>
                      <a:pt x="559" y="365"/>
                    </a:cubicBezTo>
                    <a:cubicBezTo>
                      <a:pt x="573" y="364"/>
                      <a:pt x="584" y="362"/>
                      <a:pt x="593" y="360"/>
                    </a:cubicBezTo>
                    <a:cubicBezTo>
                      <a:pt x="611" y="357"/>
                      <a:pt x="622" y="355"/>
                      <a:pt x="630" y="367"/>
                    </a:cubicBezTo>
                    <a:cubicBezTo>
                      <a:pt x="633" y="372"/>
                      <a:pt x="637" y="375"/>
                      <a:pt x="642" y="375"/>
                    </a:cubicBezTo>
                    <a:cubicBezTo>
                      <a:pt x="648" y="376"/>
                      <a:pt x="657" y="373"/>
                      <a:pt x="666" y="366"/>
                    </a:cubicBezTo>
                    <a:cubicBezTo>
                      <a:pt x="681" y="354"/>
                      <a:pt x="734" y="347"/>
                      <a:pt x="745" y="347"/>
                    </a:cubicBezTo>
                    <a:cubicBezTo>
                      <a:pt x="752" y="347"/>
                      <a:pt x="759" y="351"/>
                      <a:pt x="766" y="356"/>
                    </a:cubicBezTo>
                    <a:cubicBezTo>
                      <a:pt x="772" y="360"/>
                      <a:pt x="778" y="364"/>
                      <a:pt x="783" y="365"/>
                    </a:cubicBezTo>
                    <a:cubicBezTo>
                      <a:pt x="791" y="366"/>
                      <a:pt x="797" y="366"/>
                      <a:pt x="801" y="365"/>
                    </a:cubicBezTo>
                    <a:cubicBezTo>
                      <a:pt x="801" y="164"/>
                      <a:pt x="801" y="164"/>
                      <a:pt x="801" y="164"/>
                    </a:cubicBezTo>
                    <a:cubicBezTo>
                      <a:pt x="799" y="157"/>
                      <a:pt x="788" y="119"/>
                      <a:pt x="790" y="106"/>
                    </a:cubicBezTo>
                    <a:cubicBezTo>
                      <a:pt x="791" y="102"/>
                      <a:pt x="789" y="99"/>
                      <a:pt x="786" y="94"/>
                    </a:cubicBezTo>
                    <a:cubicBezTo>
                      <a:pt x="782" y="88"/>
                      <a:pt x="778" y="81"/>
                      <a:pt x="779" y="70"/>
                    </a:cubicBezTo>
                    <a:cubicBezTo>
                      <a:pt x="780" y="53"/>
                      <a:pt x="779" y="13"/>
                      <a:pt x="779" y="0"/>
                    </a:cubicBezTo>
                    <a:cubicBezTo>
                      <a:pt x="95" y="0"/>
                      <a:pt x="95" y="0"/>
                      <a:pt x="95" y="0"/>
                    </a:cubicBezTo>
                    <a:cubicBezTo>
                      <a:pt x="0" y="0"/>
                      <a:pt x="0" y="0"/>
                      <a:pt x="0" y="0"/>
                    </a:cubicBezTo>
                    <a:cubicBezTo>
                      <a:pt x="0" y="58"/>
                      <a:pt x="0" y="58"/>
                      <a:pt x="0" y="58"/>
                    </a:cubicBezTo>
                    <a:cubicBezTo>
                      <a:pt x="282" y="58"/>
                      <a:pt x="282" y="58"/>
                      <a:pt x="282" y="58"/>
                    </a:cubicBezTo>
                    <a:cubicBezTo>
                      <a:pt x="285" y="58"/>
                      <a:pt x="286" y="60"/>
                      <a:pt x="286" y="62"/>
                    </a:cubicBezTo>
                    <a:cubicBezTo>
                      <a:pt x="286" y="265"/>
                      <a:pt x="286" y="265"/>
                      <a:pt x="286" y="265"/>
                    </a:cubicBezTo>
                    <a:cubicBezTo>
                      <a:pt x="286" y="275"/>
                      <a:pt x="285" y="300"/>
                      <a:pt x="295" y="3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2">
                <a:extLst>
                  <a:ext uri="{FF2B5EF4-FFF2-40B4-BE49-F238E27FC236}">
                    <a16:creationId xmlns:a16="http://schemas.microsoft.com/office/drawing/2014/main" id="{48F6ABE7-3C08-4C07-AAE5-12CAEDB54F82}"/>
                  </a:ext>
                </a:extLst>
              </p:cNvPr>
              <p:cNvSpPr>
                <a:spLocks/>
              </p:cNvSpPr>
              <p:nvPr/>
            </p:nvSpPr>
            <p:spPr bwMode="auto">
              <a:xfrm>
                <a:off x="6192" y="767"/>
                <a:ext cx="153" cy="361"/>
              </a:xfrm>
              <a:custGeom>
                <a:avLst/>
                <a:gdLst>
                  <a:gd name="T0" fmla="*/ 12 w 130"/>
                  <a:gd name="T1" fmla="*/ 128 h 307"/>
                  <a:gd name="T2" fmla="*/ 14 w 130"/>
                  <a:gd name="T3" fmla="*/ 129 h 307"/>
                  <a:gd name="T4" fmla="*/ 27 w 130"/>
                  <a:gd name="T5" fmla="*/ 148 h 307"/>
                  <a:gd name="T6" fmla="*/ 37 w 130"/>
                  <a:gd name="T7" fmla="*/ 188 h 307"/>
                  <a:gd name="T8" fmla="*/ 50 w 130"/>
                  <a:gd name="T9" fmla="*/ 227 h 307"/>
                  <a:gd name="T10" fmla="*/ 61 w 130"/>
                  <a:gd name="T11" fmla="*/ 232 h 307"/>
                  <a:gd name="T12" fmla="*/ 72 w 130"/>
                  <a:gd name="T13" fmla="*/ 237 h 307"/>
                  <a:gd name="T14" fmla="*/ 81 w 130"/>
                  <a:gd name="T15" fmla="*/ 271 h 307"/>
                  <a:gd name="T16" fmla="*/ 81 w 130"/>
                  <a:gd name="T17" fmla="*/ 279 h 307"/>
                  <a:gd name="T18" fmla="*/ 88 w 130"/>
                  <a:gd name="T19" fmla="*/ 307 h 307"/>
                  <a:gd name="T20" fmla="*/ 115 w 130"/>
                  <a:gd name="T21" fmla="*/ 303 h 307"/>
                  <a:gd name="T22" fmla="*/ 128 w 130"/>
                  <a:gd name="T23" fmla="*/ 298 h 307"/>
                  <a:gd name="T24" fmla="*/ 125 w 130"/>
                  <a:gd name="T25" fmla="*/ 280 h 307"/>
                  <a:gd name="T26" fmla="*/ 117 w 130"/>
                  <a:gd name="T27" fmla="*/ 259 h 307"/>
                  <a:gd name="T28" fmla="*/ 116 w 130"/>
                  <a:gd name="T29" fmla="*/ 240 h 307"/>
                  <a:gd name="T30" fmla="*/ 116 w 130"/>
                  <a:gd name="T31" fmla="*/ 237 h 307"/>
                  <a:gd name="T32" fmla="*/ 114 w 130"/>
                  <a:gd name="T33" fmla="*/ 231 h 307"/>
                  <a:gd name="T34" fmla="*/ 110 w 130"/>
                  <a:gd name="T35" fmla="*/ 221 h 307"/>
                  <a:gd name="T36" fmla="*/ 109 w 130"/>
                  <a:gd name="T37" fmla="*/ 217 h 307"/>
                  <a:gd name="T38" fmla="*/ 108 w 130"/>
                  <a:gd name="T39" fmla="*/ 185 h 307"/>
                  <a:gd name="T40" fmla="*/ 110 w 130"/>
                  <a:gd name="T41" fmla="*/ 149 h 307"/>
                  <a:gd name="T42" fmla="*/ 110 w 130"/>
                  <a:gd name="T43" fmla="*/ 143 h 307"/>
                  <a:gd name="T44" fmla="*/ 107 w 130"/>
                  <a:gd name="T45" fmla="*/ 127 h 307"/>
                  <a:gd name="T46" fmla="*/ 104 w 130"/>
                  <a:gd name="T47" fmla="*/ 106 h 307"/>
                  <a:gd name="T48" fmla="*/ 118 w 130"/>
                  <a:gd name="T49" fmla="*/ 80 h 307"/>
                  <a:gd name="T50" fmla="*/ 128 w 130"/>
                  <a:gd name="T51" fmla="*/ 64 h 307"/>
                  <a:gd name="T52" fmla="*/ 119 w 130"/>
                  <a:gd name="T53" fmla="*/ 49 h 307"/>
                  <a:gd name="T54" fmla="*/ 112 w 130"/>
                  <a:gd name="T55" fmla="*/ 41 h 307"/>
                  <a:gd name="T56" fmla="*/ 111 w 130"/>
                  <a:gd name="T57" fmla="*/ 9 h 307"/>
                  <a:gd name="T58" fmla="*/ 112 w 130"/>
                  <a:gd name="T59" fmla="*/ 0 h 307"/>
                  <a:gd name="T60" fmla="*/ 75 w 130"/>
                  <a:gd name="T61" fmla="*/ 19 h 307"/>
                  <a:gd name="T62" fmla="*/ 0 w 130"/>
                  <a:gd name="T63" fmla="*/ 46 h 307"/>
                  <a:gd name="T64" fmla="*/ 0 w 130"/>
                  <a:gd name="T65" fmla="*/ 111 h 307"/>
                  <a:gd name="T66" fmla="*/ 12 w 130"/>
                  <a:gd name="T67" fmla="*/ 12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 h="307">
                    <a:moveTo>
                      <a:pt x="12" y="128"/>
                    </a:moveTo>
                    <a:cubicBezTo>
                      <a:pt x="14" y="129"/>
                      <a:pt x="14" y="129"/>
                      <a:pt x="14" y="129"/>
                    </a:cubicBezTo>
                    <a:cubicBezTo>
                      <a:pt x="20" y="134"/>
                      <a:pt x="27" y="140"/>
                      <a:pt x="27" y="148"/>
                    </a:cubicBezTo>
                    <a:cubicBezTo>
                      <a:pt x="27" y="154"/>
                      <a:pt x="33" y="181"/>
                      <a:pt x="37" y="188"/>
                    </a:cubicBezTo>
                    <a:cubicBezTo>
                      <a:pt x="42" y="195"/>
                      <a:pt x="47" y="214"/>
                      <a:pt x="50" y="227"/>
                    </a:cubicBezTo>
                    <a:cubicBezTo>
                      <a:pt x="51" y="230"/>
                      <a:pt x="55" y="231"/>
                      <a:pt x="61" y="232"/>
                    </a:cubicBezTo>
                    <a:cubicBezTo>
                      <a:pt x="65" y="233"/>
                      <a:pt x="69" y="234"/>
                      <a:pt x="72" y="237"/>
                    </a:cubicBezTo>
                    <a:cubicBezTo>
                      <a:pt x="78" y="241"/>
                      <a:pt x="79" y="254"/>
                      <a:pt x="81" y="271"/>
                    </a:cubicBezTo>
                    <a:cubicBezTo>
                      <a:pt x="81" y="274"/>
                      <a:pt x="81" y="276"/>
                      <a:pt x="81" y="279"/>
                    </a:cubicBezTo>
                    <a:cubicBezTo>
                      <a:pt x="82" y="287"/>
                      <a:pt x="86" y="301"/>
                      <a:pt x="88" y="307"/>
                    </a:cubicBezTo>
                    <a:cubicBezTo>
                      <a:pt x="95" y="305"/>
                      <a:pt x="109" y="302"/>
                      <a:pt x="115" y="303"/>
                    </a:cubicBezTo>
                    <a:cubicBezTo>
                      <a:pt x="118" y="303"/>
                      <a:pt x="124" y="301"/>
                      <a:pt x="128" y="298"/>
                    </a:cubicBezTo>
                    <a:cubicBezTo>
                      <a:pt x="127" y="294"/>
                      <a:pt x="126" y="285"/>
                      <a:pt x="125" y="280"/>
                    </a:cubicBezTo>
                    <a:cubicBezTo>
                      <a:pt x="124" y="274"/>
                      <a:pt x="120" y="264"/>
                      <a:pt x="117" y="259"/>
                    </a:cubicBezTo>
                    <a:cubicBezTo>
                      <a:pt x="113" y="254"/>
                      <a:pt x="115" y="246"/>
                      <a:pt x="116" y="240"/>
                    </a:cubicBezTo>
                    <a:cubicBezTo>
                      <a:pt x="116" y="239"/>
                      <a:pt x="116" y="238"/>
                      <a:pt x="116" y="237"/>
                    </a:cubicBezTo>
                    <a:cubicBezTo>
                      <a:pt x="116" y="236"/>
                      <a:pt x="115" y="233"/>
                      <a:pt x="114" y="231"/>
                    </a:cubicBezTo>
                    <a:cubicBezTo>
                      <a:pt x="113" y="228"/>
                      <a:pt x="111" y="224"/>
                      <a:pt x="110" y="221"/>
                    </a:cubicBezTo>
                    <a:cubicBezTo>
                      <a:pt x="110" y="219"/>
                      <a:pt x="110" y="218"/>
                      <a:pt x="109" y="217"/>
                    </a:cubicBezTo>
                    <a:cubicBezTo>
                      <a:pt x="107" y="209"/>
                      <a:pt x="104" y="197"/>
                      <a:pt x="108" y="185"/>
                    </a:cubicBezTo>
                    <a:cubicBezTo>
                      <a:pt x="111" y="175"/>
                      <a:pt x="111" y="159"/>
                      <a:pt x="110" y="149"/>
                    </a:cubicBezTo>
                    <a:cubicBezTo>
                      <a:pt x="110" y="147"/>
                      <a:pt x="110" y="144"/>
                      <a:pt x="110" y="143"/>
                    </a:cubicBezTo>
                    <a:cubicBezTo>
                      <a:pt x="110" y="140"/>
                      <a:pt x="109" y="133"/>
                      <a:pt x="107" y="127"/>
                    </a:cubicBezTo>
                    <a:cubicBezTo>
                      <a:pt x="106" y="119"/>
                      <a:pt x="104" y="111"/>
                      <a:pt x="104" y="106"/>
                    </a:cubicBezTo>
                    <a:cubicBezTo>
                      <a:pt x="104" y="101"/>
                      <a:pt x="109" y="93"/>
                      <a:pt x="118" y="80"/>
                    </a:cubicBezTo>
                    <a:cubicBezTo>
                      <a:pt x="122" y="74"/>
                      <a:pt x="127" y="67"/>
                      <a:pt x="128" y="64"/>
                    </a:cubicBezTo>
                    <a:cubicBezTo>
                      <a:pt x="130" y="59"/>
                      <a:pt x="124" y="53"/>
                      <a:pt x="119" y="49"/>
                    </a:cubicBezTo>
                    <a:cubicBezTo>
                      <a:pt x="116" y="46"/>
                      <a:pt x="113" y="43"/>
                      <a:pt x="112" y="41"/>
                    </a:cubicBezTo>
                    <a:cubicBezTo>
                      <a:pt x="108" y="33"/>
                      <a:pt x="108" y="17"/>
                      <a:pt x="111" y="9"/>
                    </a:cubicBezTo>
                    <a:cubicBezTo>
                      <a:pt x="112" y="6"/>
                      <a:pt x="113" y="3"/>
                      <a:pt x="112" y="0"/>
                    </a:cubicBezTo>
                    <a:cubicBezTo>
                      <a:pt x="103" y="7"/>
                      <a:pt x="91" y="12"/>
                      <a:pt x="75" y="19"/>
                    </a:cubicBezTo>
                    <a:cubicBezTo>
                      <a:pt x="58" y="26"/>
                      <a:pt x="28" y="36"/>
                      <a:pt x="0" y="46"/>
                    </a:cubicBezTo>
                    <a:cubicBezTo>
                      <a:pt x="0" y="111"/>
                      <a:pt x="0" y="111"/>
                      <a:pt x="0" y="111"/>
                    </a:cubicBezTo>
                    <a:cubicBezTo>
                      <a:pt x="0" y="117"/>
                      <a:pt x="6" y="123"/>
                      <a:pt x="12"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3">
                <a:extLst>
                  <a:ext uri="{FF2B5EF4-FFF2-40B4-BE49-F238E27FC236}">
                    <a16:creationId xmlns:a16="http://schemas.microsoft.com/office/drawing/2014/main" id="{523A7EFB-1454-478F-B468-6A68C7201FE2}"/>
                  </a:ext>
                </a:extLst>
              </p:cNvPr>
              <p:cNvSpPr>
                <a:spLocks/>
              </p:cNvSpPr>
              <p:nvPr/>
            </p:nvSpPr>
            <p:spPr bwMode="auto">
              <a:xfrm>
                <a:off x="6194" y="1504"/>
                <a:ext cx="132" cy="211"/>
              </a:xfrm>
              <a:custGeom>
                <a:avLst/>
                <a:gdLst>
                  <a:gd name="T0" fmla="*/ 50 w 113"/>
                  <a:gd name="T1" fmla="*/ 30 h 179"/>
                  <a:gd name="T2" fmla="*/ 50 w 113"/>
                  <a:gd name="T3" fmla="*/ 36 h 179"/>
                  <a:gd name="T4" fmla="*/ 50 w 113"/>
                  <a:gd name="T5" fmla="*/ 40 h 179"/>
                  <a:gd name="T6" fmla="*/ 40 w 113"/>
                  <a:gd name="T7" fmla="*/ 58 h 179"/>
                  <a:gd name="T8" fmla="*/ 32 w 113"/>
                  <a:gd name="T9" fmla="*/ 69 h 179"/>
                  <a:gd name="T10" fmla="*/ 27 w 113"/>
                  <a:gd name="T11" fmla="*/ 83 h 179"/>
                  <a:gd name="T12" fmla="*/ 14 w 113"/>
                  <a:gd name="T13" fmla="*/ 89 h 179"/>
                  <a:gd name="T14" fmla="*/ 9 w 113"/>
                  <a:gd name="T15" fmla="*/ 88 h 179"/>
                  <a:gd name="T16" fmla="*/ 0 w 113"/>
                  <a:gd name="T17" fmla="*/ 88 h 179"/>
                  <a:gd name="T18" fmla="*/ 25 w 113"/>
                  <a:gd name="T19" fmla="*/ 124 h 179"/>
                  <a:gd name="T20" fmla="*/ 25 w 113"/>
                  <a:gd name="T21" fmla="*/ 124 h 179"/>
                  <a:gd name="T22" fmla="*/ 30 w 113"/>
                  <a:gd name="T23" fmla="*/ 125 h 179"/>
                  <a:gd name="T24" fmla="*/ 66 w 113"/>
                  <a:gd name="T25" fmla="*/ 136 h 179"/>
                  <a:gd name="T26" fmla="*/ 86 w 113"/>
                  <a:gd name="T27" fmla="*/ 161 h 179"/>
                  <a:gd name="T28" fmla="*/ 86 w 113"/>
                  <a:gd name="T29" fmla="*/ 164 h 179"/>
                  <a:gd name="T30" fmla="*/ 91 w 113"/>
                  <a:gd name="T31" fmla="*/ 179 h 179"/>
                  <a:gd name="T32" fmla="*/ 109 w 113"/>
                  <a:gd name="T33" fmla="*/ 100 h 179"/>
                  <a:gd name="T34" fmla="*/ 109 w 113"/>
                  <a:gd name="T35" fmla="*/ 99 h 179"/>
                  <a:gd name="T36" fmla="*/ 112 w 113"/>
                  <a:gd name="T37" fmla="*/ 36 h 179"/>
                  <a:gd name="T38" fmla="*/ 113 w 113"/>
                  <a:gd name="T39" fmla="*/ 9 h 179"/>
                  <a:gd name="T40" fmla="*/ 112 w 113"/>
                  <a:gd name="T41" fmla="*/ 5 h 179"/>
                  <a:gd name="T42" fmla="*/ 106 w 113"/>
                  <a:gd name="T43" fmla="*/ 4 h 179"/>
                  <a:gd name="T44" fmla="*/ 101 w 113"/>
                  <a:gd name="T45" fmla="*/ 5 h 179"/>
                  <a:gd name="T46" fmla="*/ 89 w 113"/>
                  <a:gd name="T47" fmla="*/ 4 h 179"/>
                  <a:gd name="T48" fmla="*/ 85 w 113"/>
                  <a:gd name="T49" fmla="*/ 2 h 179"/>
                  <a:gd name="T50" fmla="*/ 50 w 113"/>
                  <a:gd name="T51" fmla="*/ 3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179">
                    <a:moveTo>
                      <a:pt x="50" y="30"/>
                    </a:moveTo>
                    <a:cubicBezTo>
                      <a:pt x="50" y="32"/>
                      <a:pt x="51" y="34"/>
                      <a:pt x="50" y="36"/>
                    </a:cubicBezTo>
                    <a:cubicBezTo>
                      <a:pt x="50" y="37"/>
                      <a:pt x="50" y="39"/>
                      <a:pt x="50" y="40"/>
                    </a:cubicBezTo>
                    <a:cubicBezTo>
                      <a:pt x="49" y="47"/>
                      <a:pt x="47" y="55"/>
                      <a:pt x="40" y="58"/>
                    </a:cubicBezTo>
                    <a:cubicBezTo>
                      <a:pt x="37" y="59"/>
                      <a:pt x="31" y="62"/>
                      <a:pt x="32" y="69"/>
                    </a:cubicBezTo>
                    <a:cubicBezTo>
                      <a:pt x="32" y="74"/>
                      <a:pt x="30" y="79"/>
                      <a:pt x="27" y="83"/>
                    </a:cubicBezTo>
                    <a:cubicBezTo>
                      <a:pt x="24" y="86"/>
                      <a:pt x="19" y="89"/>
                      <a:pt x="14" y="89"/>
                    </a:cubicBezTo>
                    <a:cubicBezTo>
                      <a:pt x="13" y="89"/>
                      <a:pt x="11" y="89"/>
                      <a:pt x="9" y="88"/>
                    </a:cubicBezTo>
                    <a:cubicBezTo>
                      <a:pt x="6" y="88"/>
                      <a:pt x="3" y="88"/>
                      <a:pt x="0" y="88"/>
                    </a:cubicBezTo>
                    <a:cubicBezTo>
                      <a:pt x="12" y="97"/>
                      <a:pt x="21" y="113"/>
                      <a:pt x="25" y="124"/>
                    </a:cubicBezTo>
                    <a:cubicBezTo>
                      <a:pt x="25" y="124"/>
                      <a:pt x="25" y="124"/>
                      <a:pt x="25" y="124"/>
                    </a:cubicBezTo>
                    <a:cubicBezTo>
                      <a:pt x="26" y="124"/>
                      <a:pt x="28" y="124"/>
                      <a:pt x="30" y="125"/>
                    </a:cubicBezTo>
                    <a:cubicBezTo>
                      <a:pt x="38" y="129"/>
                      <a:pt x="56" y="136"/>
                      <a:pt x="66" y="136"/>
                    </a:cubicBezTo>
                    <a:cubicBezTo>
                      <a:pt x="83" y="136"/>
                      <a:pt x="85" y="152"/>
                      <a:pt x="86" y="161"/>
                    </a:cubicBezTo>
                    <a:cubicBezTo>
                      <a:pt x="86" y="164"/>
                      <a:pt x="86" y="164"/>
                      <a:pt x="86" y="164"/>
                    </a:cubicBezTo>
                    <a:cubicBezTo>
                      <a:pt x="87" y="175"/>
                      <a:pt x="88" y="179"/>
                      <a:pt x="91" y="179"/>
                    </a:cubicBezTo>
                    <a:cubicBezTo>
                      <a:pt x="95" y="176"/>
                      <a:pt x="100" y="161"/>
                      <a:pt x="109" y="100"/>
                    </a:cubicBezTo>
                    <a:cubicBezTo>
                      <a:pt x="109" y="99"/>
                      <a:pt x="109" y="99"/>
                      <a:pt x="109" y="99"/>
                    </a:cubicBezTo>
                    <a:cubicBezTo>
                      <a:pt x="111" y="84"/>
                      <a:pt x="112" y="58"/>
                      <a:pt x="112" y="36"/>
                    </a:cubicBezTo>
                    <a:cubicBezTo>
                      <a:pt x="112" y="25"/>
                      <a:pt x="112" y="15"/>
                      <a:pt x="113" y="9"/>
                    </a:cubicBezTo>
                    <a:cubicBezTo>
                      <a:pt x="113" y="8"/>
                      <a:pt x="113" y="6"/>
                      <a:pt x="112" y="5"/>
                    </a:cubicBezTo>
                    <a:cubicBezTo>
                      <a:pt x="111" y="5"/>
                      <a:pt x="109" y="4"/>
                      <a:pt x="106" y="4"/>
                    </a:cubicBezTo>
                    <a:cubicBezTo>
                      <a:pt x="105" y="4"/>
                      <a:pt x="103" y="4"/>
                      <a:pt x="101" y="5"/>
                    </a:cubicBezTo>
                    <a:cubicBezTo>
                      <a:pt x="96" y="5"/>
                      <a:pt x="92" y="5"/>
                      <a:pt x="89" y="4"/>
                    </a:cubicBezTo>
                    <a:cubicBezTo>
                      <a:pt x="87" y="4"/>
                      <a:pt x="86" y="3"/>
                      <a:pt x="85" y="2"/>
                    </a:cubicBezTo>
                    <a:cubicBezTo>
                      <a:pt x="71" y="0"/>
                      <a:pt x="56" y="20"/>
                      <a:pt x="5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4">
                <a:extLst>
                  <a:ext uri="{FF2B5EF4-FFF2-40B4-BE49-F238E27FC236}">
                    <a16:creationId xmlns:a16="http://schemas.microsoft.com/office/drawing/2014/main" id="{21DD613B-8B2A-4DEB-89E1-F32669DC296C}"/>
                  </a:ext>
                </a:extLst>
              </p:cNvPr>
              <p:cNvSpPr>
                <a:spLocks/>
              </p:cNvSpPr>
              <p:nvPr/>
            </p:nvSpPr>
            <p:spPr bwMode="auto">
              <a:xfrm>
                <a:off x="5487" y="1716"/>
                <a:ext cx="796" cy="568"/>
              </a:xfrm>
              <a:custGeom>
                <a:avLst/>
                <a:gdLst>
                  <a:gd name="T0" fmla="*/ 557 w 677"/>
                  <a:gd name="T1" fmla="*/ 159 h 482"/>
                  <a:gd name="T2" fmla="*/ 503 w 677"/>
                  <a:gd name="T3" fmla="*/ 61 h 482"/>
                  <a:gd name="T4" fmla="*/ 477 w 677"/>
                  <a:gd name="T5" fmla="*/ 42 h 482"/>
                  <a:gd name="T6" fmla="*/ 486 w 677"/>
                  <a:gd name="T7" fmla="*/ 17 h 482"/>
                  <a:gd name="T8" fmla="*/ 470 w 677"/>
                  <a:gd name="T9" fmla="*/ 1 h 482"/>
                  <a:gd name="T10" fmla="*/ 457 w 677"/>
                  <a:gd name="T11" fmla="*/ 19 h 482"/>
                  <a:gd name="T12" fmla="*/ 439 w 677"/>
                  <a:gd name="T13" fmla="*/ 46 h 482"/>
                  <a:gd name="T14" fmla="*/ 404 w 677"/>
                  <a:gd name="T15" fmla="*/ 27 h 482"/>
                  <a:gd name="T16" fmla="*/ 400 w 677"/>
                  <a:gd name="T17" fmla="*/ 65 h 482"/>
                  <a:gd name="T18" fmla="*/ 375 w 677"/>
                  <a:gd name="T19" fmla="*/ 116 h 482"/>
                  <a:gd name="T20" fmla="*/ 350 w 677"/>
                  <a:gd name="T21" fmla="*/ 174 h 482"/>
                  <a:gd name="T22" fmla="*/ 322 w 677"/>
                  <a:gd name="T23" fmla="*/ 167 h 482"/>
                  <a:gd name="T24" fmla="*/ 314 w 677"/>
                  <a:gd name="T25" fmla="*/ 165 h 482"/>
                  <a:gd name="T26" fmla="*/ 312 w 677"/>
                  <a:gd name="T27" fmla="*/ 178 h 482"/>
                  <a:gd name="T28" fmla="*/ 309 w 677"/>
                  <a:gd name="T29" fmla="*/ 226 h 482"/>
                  <a:gd name="T30" fmla="*/ 288 w 677"/>
                  <a:gd name="T31" fmla="*/ 250 h 482"/>
                  <a:gd name="T32" fmla="*/ 286 w 677"/>
                  <a:gd name="T33" fmla="*/ 284 h 482"/>
                  <a:gd name="T34" fmla="*/ 250 w 677"/>
                  <a:gd name="T35" fmla="*/ 312 h 482"/>
                  <a:gd name="T36" fmla="*/ 210 w 677"/>
                  <a:gd name="T37" fmla="*/ 347 h 482"/>
                  <a:gd name="T38" fmla="*/ 173 w 677"/>
                  <a:gd name="T39" fmla="*/ 368 h 482"/>
                  <a:gd name="T40" fmla="*/ 161 w 677"/>
                  <a:gd name="T41" fmla="*/ 375 h 482"/>
                  <a:gd name="T42" fmla="*/ 99 w 677"/>
                  <a:gd name="T43" fmla="*/ 388 h 482"/>
                  <a:gd name="T44" fmla="*/ 82 w 677"/>
                  <a:gd name="T45" fmla="*/ 379 h 482"/>
                  <a:gd name="T46" fmla="*/ 64 w 677"/>
                  <a:gd name="T47" fmla="*/ 405 h 482"/>
                  <a:gd name="T48" fmla="*/ 42 w 677"/>
                  <a:gd name="T49" fmla="*/ 427 h 482"/>
                  <a:gd name="T50" fmla="*/ 27 w 677"/>
                  <a:gd name="T51" fmla="*/ 452 h 482"/>
                  <a:gd name="T52" fmla="*/ 0 w 677"/>
                  <a:gd name="T53" fmla="*/ 482 h 482"/>
                  <a:gd name="T54" fmla="*/ 143 w 677"/>
                  <a:gd name="T55" fmla="*/ 454 h 482"/>
                  <a:gd name="T56" fmla="*/ 674 w 677"/>
                  <a:gd name="T57" fmla="*/ 323 h 482"/>
                  <a:gd name="T58" fmla="*/ 674 w 677"/>
                  <a:gd name="T59" fmla="*/ 293 h 482"/>
                  <a:gd name="T60" fmla="*/ 646 w 677"/>
                  <a:gd name="T61" fmla="*/ 298 h 482"/>
                  <a:gd name="T62" fmla="*/ 602 w 677"/>
                  <a:gd name="T63" fmla="*/ 280 h 482"/>
                  <a:gd name="T64" fmla="*/ 611 w 677"/>
                  <a:gd name="T65" fmla="*/ 259 h 482"/>
                  <a:gd name="T66" fmla="*/ 630 w 677"/>
                  <a:gd name="T67" fmla="*/ 280 h 482"/>
                  <a:gd name="T68" fmla="*/ 645 w 677"/>
                  <a:gd name="T69" fmla="*/ 281 h 482"/>
                  <a:gd name="T70" fmla="*/ 653 w 677"/>
                  <a:gd name="T71" fmla="*/ 280 h 482"/>
                  <a:gd name="T72" fmla="*/ 644 w 677"/>
                  <a:gd name="T73" fmla="*/ 275 h 482"/>
                  <a:gd name="T74" fmla="*/ 619 w 677"/>
                  <a:gd name="T75" fmla="*/ 254 h 482"/>
                  <a:gd name="T76" fmla="*/ 638 w 677"/>
                  <a:gd name="T77" fmla="*/ 245 h 482"/>
                  <a:gd name="T78" fmla="*/ 594 w 677"/>
                  <a:gd name="T79" fmla="*/ 224 h 482"/>
                  <a:gd name="T80" fmla="*/ 586 w 677"/>
                  <a:gd name="T81" fmla="*/ 202 h 482"/>
                  <a:gd name="T82" fmla="*/ 588 w 677"/>
                  <a:gd name="T83" fmla="*/ 202 h 482"/>
                  <a:gd name="T84" fmla="*/ 605 w 677"/>
                  <a:gd name="T85" fmla="*/ 196 h 482"/>
                  <a:gd name="T86" fmla="*/ 629 w 677"/>
                  <a:gd name="T87" fmla="*/ 203 h 482"/>
                  <a:gd name="T88" fmla="*/ 607 w 677"/>
                  <a:gd name="T89" fmla="*/ 187 h 482"/>
                  <a:gd name="T90" fmla="*/ 583 w 677"/>
                  <a:gd name="T91" fmla="*/ 180 h 482"/>
                  <a:gd name="T92" fmla="*/ 557 w 677"/>
                  <a:gd name="T93" fmla="*/ 161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7" h="482">
                    <a:moveTo>
                      <a:pt x="557" y="161"/>
                    </a:moveTo>
                    <a:cubicBezTo>
                      <a:pt x="557" y="160"/>
                      <a:pt x="557" y="160"/>
                      <a:pt x="557" y="159"/>
                    </a:cubicBezTo>
                    <a:cubicBezTo>
                      <a:pt x="555" y="152"/>
                      <a:pt x="544" y="114"/>
                      <a:pt x="540" y="94"/>
                    </a:cubicBezTo>
                    <a:cubicBezTo>
                      <a:pt x="538" y="77"/>
                      <a:pt x="515" y="67"/>
                      <a:pt x="503" y="61"/>
                    </a:cubicBezTo>
                    <a:cubicBezTo>
                      <a:pt x="501" y="60"/>
                      <a:pt x="499" y="59"/>
                      <a:pt x="497" y="58"/>
                    </a:cubicBezTo>
                    <a:cubicBezTo>
                      <a:pt x="489" y="53"/>
                      <a:pt x="481" y="47"/>
                      <a:pt x="477" y="42"/>
                    </a:cubicBezTo>
                    <a:cubicBezTo>
                      <a:pt x="472" y="36"/>
                      <a:pt x="477" y="30"/>
                      <a:pt x="480" y="26"/>
                    </a:cubicBezTo>
                    <a:cubicBezTo>
                      <a:pt x="482" y="23"/>
                      <a:pt x="484" y="20"/>
                      <a:pt x="486" y="17"/>
                    </a:cubicBezTo>
                    <a:cubicBezTo>
                      <a:pt x="487" y="15"/>
                      <a:pt x="487" y="13"/>
                      <a:pt x="486" y="11"/>
                    </a:cubicBezTo>
                    <a:cubicBezTo>
                      <a:pt x="485" y="7"/>
                      <a:pt x="479" y="3"/>
                      <a:pt x="470" y="1"/>
                    </a:cubicBezTo>
                    <a:cubicBezTo>
                      <a:pt x="466" y="0"/>
                      <a:pt x="465" y="1"/>
                      <a:pt x="464" y="1"/>
                    </a:cubicBezTo>
                    <a:cubicBezTo>
                      <a:pt x="461" y="4"/>
                      <a:pt x="459" y="12"/>
                      <a:pt x="457" y="19"/>
                    </a:cubicBezTo>
                    <a:cubicBezTo>
                      <a:pt x="456" y="24"/>
                      <a:pt x="456" y="28"/>
                      <a:pt x="454" y="32"/>
                    </a:cubicBezTo>
                    <a:cubicBezTo>
                      <a:pt x="450" y="40"/>
                      <a:pt x="445" y="45"/>
                      <a:pt x="439" y="46"/>
                    </a:cubicBezTo>
                    <a:cubicBezTo>
                      <a:pt x="436" y="46"/>
                      <a:pt x="432" y="45"/>
                      <a:pt x="427" y="39"/>
                    </a:cubicBezTo>
                    <a:cubicBezTo>
                      <a:pt x="423" y="34"/>
                      <a:pt x="411" y="30"/>
                      <a:pt x="404" y="27"/>
                    </a:cubicBezTo>
                    <a:cubicBezTo>
                      <a:pt x="404" y="40"/>
                      <a:pt x="403" y="49"/>
                      <a:pt x="401" y="59"/>
                    </a:cubicBezTo>
                    <a:cubicBezTo>
                      <a:pt x="401" y="61"/>
                      <a:pt x="400" y="63"/>
                      <a:pt x="400" y="65"/>
                    </a:cubicBezTo>
                    <a:cubicBezTo>
                      <a:pt x="398" y="75"/>
                      <a:pt x="393" y="100"/>
                      <a:pt x="380" y="102"/>
                    </a:cubicBezTo>
                    <a:cubicBezTo>
                      <a:pt x="376" y="103"/>
                      <a:pt x="375" y="107"/>
                      <a:pt x="375" y="116"/>
                    </a:cubicBezTo>
                    <a:cubicBezTo>
                      <a:pt x="375" y="117"/>
                      <a:pt x="373" y="173"/>
                      <a:pt x="359" y="173"/>
                    </a:cubicBezTo>
                    <a:cubicBezTo>
                      <a:pt x="357" y="173"/>
                      <a:pt x="353" y="173"/>
                      <a:pt x="350" y="174"/>
                    </a:cubicBezTo>
                    <a:cubicBezTo>
                      <a:pt x="342" y="175"/>
                      <a:pt x="333" y="176"/>
                      <a:pt x="327" y="172"/>
                    </a:cubicBezTo>
                    <a:cubicBezTo>
                      <a:pt x="326" y="171"/>
                      <a:pt x="324" y="169"/>
                      <a:pt x="322" y="167"/>
                    </a:cubicBezTo>
                    <a:cubicBezTo>
                      <a:pt x="320" y="166"/>
                      <a:pt x="317" y="163"/>
                      <a:pt x="315" y="162"/>
                    </a:cubicBezTo>
                    <a:cubicBezTo>
                      <a:pt x="315" y="163"/>
                      <a:pt x="314" y="164"/>
                      <a:pt x="314" y="165"/>
                    </a:cubicBezTo>
                    <a:cubicBezTo>
                      <a:pt x="312" y="169"/>
                      <a:pt x="309" y="174"/>
                      <a:pt x="311" y="176"/>
                    </a:cubicBezTo>
                    <a:cubicBezTo>
                      <a:pt x="311" y="176"/>
                      <a:pt x="312" y="177"/>
                      <a:pt x="312" y="178"/>
                    </a:cubicBezTo>
                    <a:cubicBezTo>
                      <a:pt x="316" y="182"/>
                      <a:pt x="321" y="187"/>
                      <a:pt x="322" y="196"/>
                    </a:cubicBezTo>
                    <a:cubicBezTo>
                      <a:pt x="322" y="207"/>
                      <a:pt x="318" y="218"/>
                      <a:pt x="309" y="226"/>
                    </a:cubicBezTo>
                    <a:cubicBezTo>
                      <a:pt x="307" y="227"/>
                      <a:pt x="306" y="228"/>
                      <a:pt x="304" y="230"/>
                    </a:cubicBezTo>
                    <a:cubicBezTo>
                      <a:pt x="297" y="236"/>
                      <a:pt x="286" y="244"/>
                      <a:pt x="288" y="250"/>
                    </a:cubicBezTo>
                    <a:cubicBezTo>
                      <a:pt x="289" y="252"/>
                      <a:pt x="290" y="254"/>
                      <a:pt x="291" y="256"/>
                    </a:cubicBezTo>
                    <a:cubicBezTo>
                      <a:pt x="294" y="264"/>
                      <a:pt x="299" y="274"/>
                      <a:pt x="286" y="284"/>
                    </a:cubicBezTo>
                    <a:cubicBezTo>
                      <a:pt x="282" y="287"/>
                      <a:pt x="279" y="290"/>
                      <a:pt x="276" y="292"/>
                    </a:cubicBezTo>
                    <a:cubicBezTo>
                      <a:pt x="270" y="298"/>
                      <a:pt x="264" y="304"/>
                      <a:pt x="250" y="312"/>
                    </a:cubicBezTo>
                    <a:cubicBezTo>
                      <a:pt x="230" y="324"/>
                      <a:pt x="216" y="334"/>
                      <a:pt x="212" y="339"/>
                    </a:cubicBezTo>
                    <a:cubicBezTo>
                      <a:pt x="211" y="340"/>
                      <a:pt x="211" y="344"/>
                      <a:pt x="210" y="347"/>
                    </a:cubicBezTo>
                    <a:cubicBezTo>
                      <a:pt x="209" y="356"/>
                      <a:pt x="206" y="369"/>
                      <a:pt x="192" y="370"/>
                    </a:cubicBezTo>
                    <a:cubicBezTo>
                      <a:pt x="185" y="371"/>
                      <a:pt x="178" y="369"/>
                      <a:pt x="173" y="368"/>
                    </a:cubicBezTo>
                    <a:cubicBezTo>
                      <a:pt x="165" y="366"/>
                      <a:pt x="164" y="366"/>
                      <a:pt x="163" y="368"/>
                    </a:cubicBezTo>
                    <a:cubicBezTo>
                      <a:pt x="162" y="370"/>
                      <a:pt x="162" y="372"/>
                      <a:pt x="161" y="375"/>
                    </a:cubicBezTo>
                    <a:cubicBezTo>
                      <a:pt x="160" y="382"/>
                      <a:pt x="158" y="392"/>
                      <a:pt x="145" y="392"/>
                    </a:cubicBezTo>
                    <a:cubicBezTo>
                      <a:pt x="125" y="392"/>
                      <a:pt x="106" y="392"/>
                      <a:pt x="99" y="388"/>
                    </a:cubicBezTo>
                    <a:cubicBezTo>
                      <a:pt x="98" y="387"/>
                      <a:pt x="96" y="386"/>
                      <a:pt x="94" y="385"/>
                    </a:cubicBezTo>
                    <a:cubicBezTo>
                      <a:pt x="90" y="384"/>
                      <a:pt x="86" y="382"/>
                      <a:pt x="82" y="379"/>
                    </a:cubicBezTo>
                    <a:cubicBezTo>
                      <a:pt x="81" y="385"/>
                      <a:pt x="79" y="392"/>
                      <a:pt x="76" y="395"/>
                    </a:cubicBezTo>
                    <a:cubicBezTo>
                      <a:pt x="73" y="398"/>
                      <a:pt x="69" y="401"/>
                      <a:pt x="64" y="405"/>
                    </a:cubicBezTo>
                    <a:cubicBezTo>
                      <a:pt x="59" y="408"/>
                      <a:pt x="55" y="411"/>
                      <a:pt x="51" y="415"/>
                    </a:cubicBezTo>
                    <a:cubicBezTo>
                      <a:pt x="47" y="419"/>
                      <a:pt x="45" y="423"/>
                      <a:pt x="42" y="427"/>
                    </a:cubicBezTo>
                    <a:cubicBezTo>
                      <a:pt x="40" y="431"/>
                      <a:pt x="38" y="435"/>
                      <a:pt x="34" y="439"/>
                    </a:cubicBezTo>
                    <a:cubicBezTo>
                      <a:pt x="31" y="443"/>
                      <a:pt x="29" y="448"/>
                      <a:pt x="27" y="452"/>
                    </a:cubicBezTo>
                    <a:cubicBezTo>
                      <a:pt x="22" y="460"/>
                      <a:pt x="19" y="468"/>
                      <a:pt x="13" y="468"/>
                    </a:cubicBezTo>
                    <a:cubicBezTo>
                      <a:pt x="11" y="469"/>
                      <a:pt x="5" y="474"/>
                      <a:pt x="0" y="482"/>
                    </a:cubicBezTo>
                    <a:cubicBezTo>
                      <a:pt x="0" y="482"/>
                      <a:pt x="1" y="482"/>
                      <a:pt x="1" y="482"/>
                    </a:cubicBezTo>
                    <a:cubicBezTo>
                      <a:pt x="30" y="479"/>
                      <a:pt x="142" y="454"/>
                      <a:pt x="143" y="454"/>
                    </a:cubicBezTo>
                    <a:cubicBezTo>
                      <a:pt x="672" y="326"/>
                      <a:pt x="672" y="326"/>
                      <a:pt x="672" y="326"/>
                    </a:cubicBezTo>
                    <a:cubicBezTo>
                      <a:pt x="673" y="325"/>
                      <a:pt x="673" y="324"/>
                      <a:pt x="674" y="323"/>
                    </a:cubicBezTo>
                    <a:cubicBezTo>
                      <a:pt x="677" y="320"/>
                      <a:pt x="676" y="306"/>
                      <a:pt x="674" y="295"/>
                    </a:cubicBezTo>
                    <a:cubicBezTo>
                      <a:pt x="674" y="294"/>
                      <a:pt x="674" y="293"/>
                      <a:pt x="674" y="293"/>
                    </a:cubicBezTo>
                    <a:cubicBezTo>
                      <a:pt x="674" y="293"/>
                      <a:pt x="675" y="293"/>
                      <a:pt x="675" y="293"/>
                    </a:cubicBezTo>
                    <a:cubicBezTo>
                      <a:pt x="669" y="295"/>
                      <a:pt x="660" y="298"/>
                      <a:pt x="646" y="298"/>
                    </a:cubicBezTo>
                    <a:cubicBezTo>
                      <a:pt x="621" y="298"/>
                      <a:pt x="613" y="290"/>
                      <a:pt x="606" y="284"/>
                    </a:cubicBezTo>
                    <a:cubicBezTo>
                      <a:pt x="605" y="282"/>
                      <a:pt x="604" y="281"/>
                      <a:pt x="602" y="280"/>
                    </a:cubicBezTo>
                    <a:cubicBezTo>
                      <a:pt x="598" y="277"/>
                      <a:pt x="596" y="272"/>
                      <a:pt x="597" y="268"/>
                    </a:cubicBezTo>
                    <a:cubicBezTo>
                      <a:pt x="599" y="262"/>
                      <a:pt x="606" y="258"/>
                      <a:pt x="611" y="259"/>
                    </a:cubicBezTo>
                    <a:cubicBezTo>
                      <a:pt x="616" y="260"/>
                      <a:pt x="619" y="265"/>
                      <a:pt x="622" y="270"/>
                    </a:cubicBezTo>
                    <a:cubicBezTo>
                      <a:pt x="624" y="273"/>
                      <a:pt x="627" y="278"/>
                      <a:pt x="630" y="280"/>
                    </a:cubicBezTo>
                    <a:cubicBezTo>
                      <a:pt x="632" y="282"/>
                      <a:pt x="635" y="283"/>
                      <a:pt x="637" y="283"/>
                    </a:cubicBezTo>
                    <a:cubicBezTo>
                      <a:pt x="640" y="283"/>
                      <a:pt x="642" y="282"/>
                      <a:pt x="645" y="281"/>
                    </a:cubicBezTo>
                    <a:cubicBezTo>
                      <a:pt x="648" y="281"/>
                      <a:pt x="650" y="280"/>
                      <a:pt x="652" y="280"/>
                    </a:cubicBezTo>
                    <a:cubicBezTo>
                      <a:pt x="652" y="280"/>
                      <a:pt x="652" y="280"/>
                      <a:pt x="653" y="280"/>
                    </a:cubicBezTo>
                    <a:cubicBezTo>
                      <a:pt x="652" y="279"/>
                      <a:pt x="652" y="279"/>
                      <a:pt x="651" y="278"/>
                    </a:cubicBezTo>
                    <a:cubicBezTo>
                      <a:pt x="650" y="276"/>
                      <a:pt x="647" y="275"/>
                      <a:pt x="644" y="275"/>
                    </a:cubicBezTo>
                    <a:cubicBezTo>
                      <a:pt x="634" y="275"/>
                      <a:pt x="625" y="269"/>
                      <a:pt x="621" y="264"/>
                    </a:cubicBezTo>
                    <a:cubicBezTo>
                      <a:pt x="619" y="261"/>
                      <a:pt x="618" y="257"/>
                      <a:pt x="619" y="254"/>
                    </a:cubicBezTo>
                    <a:cubicBezTo>
                      <a:pt x="621" y="250"/>
                      <a:pt x="626" y="249"/>
                      <a:pt x="631" y="247"/>
                    </a:cubicBezTo>
                    <a:cubicBezTo>
                      <a:pt x="633" y="246"/>
                      <a:pt x="637" y="246"/>
                      <a:pt x="638" y="245"/>
                    </a:cubicBezTo>
                    <a:cubicBezTo>
                      <a:pt x="637" y="243"/>
                      <a:pt x="635" y="240"/>
                      <a:pt x="624" y="231"/>
                    </a:cubicBezTo>
                    <a:cubicBezTo>
                      <a:pt x="622" y="230"/>
                      <a:pt x="613" y="227"/>
                      <a:pt x="594" y="224"/>
                    </a:cubicBezTo>
                    <a:cubicBezTo>
                      <a:pt x="587" y="223"/>
                      <a:pt x="580" y="211"/>
                      <a:pt x="581" y="207"/>
                    </a:cubicBezTo>
                    <a:cubicBezTo>
                      <a:pt x="581" y="204"/>
                      <a:pt x="583" y="202"/>
                      <a:pt x="586" y="202"/>
                    </a:cubicBezTo>
                    <a:cubicBezTo>
                      <a:pt x="586" y="202"/>
                      <a:pt x="587" y="202"/>
                      <a:pt x="587" y="202"/>
                    </a:cubicBezTo>
                    <a:cubicBezTo>
                      <a:pt x="587" y="202"/>
                      <a:pt x="587" y="202"/>
                      <a:pt x="588" y="202"/>
                    </a:cubicBezTo>
                    <a:cubicBezTo>
                      <a:pt x="592" y="202"/>
                      <a:pt x="598" y="201"/>
                      <a:pt x="599" y="199"/>
                    </a:cubicBezTo>
                    <a:cubicBezTo>
                      <a:pt x="600" y="198"/>
                      <a:pt x="602" y="196"/>
                      <a:pt x="605" y="196"/>
                    </a:cubicBezTo>
                    <a:cubicBezTo>
                      <a:pt x="612" y="196"/>
                      <a:pt x="622" y="201"/>
                      <a:pt x="631" y="206"/>
                    </a:cubicBezTo>
                    <a:cubicBezTo>
                      <a:pt x="630" y="205"/>
                      <a:pt x="630" y="204"/>
                      <a:pt x="629" y="203"/>
                    </a:cubicBezTo>
                    <a:cubicBezTo>
                      <a:pt x="626" y="199"/>
                      <a:pt x="623" y="195"/>
                      <a:pt x="622" y="192"/>
                    </a:cubicBezTo>
                    <a:cubicBezTo>
                      <a:pt x="620" y="188"/>
                      <a:pt x="615" y="187"/>
                      <a:pt x="607" y="187"/>
                    </a:cubicBezTo>
                    <a:cubicBezTo>
                      <a:pt x="603" y="187"/>
                      <a:pt x="600" y="187"/>
                      <a:pt x="596" y="186"/>
                    </a:cubicBezTo>
                    <a:cubicBezTo>
                      <a:pt x="592" y="185"/>
                      <a:pt x="588" y="182"/>
                      <a:pt x="583" y="180"/>
                    </a:cubicBezTo>
                    <a:cubicBezTo>
                      <a:pt x="578" y="176"/>
                      <a:pt x="572" y="173"/>
                      <a:pt x="566" y="172"/>
                    </a:cubicBezTo>
                    <a:cubicBezTo>
                      <a:pt x="560" y="171"/>
                      <a:pt x="556" y="167"/>
                      <a:pt x="557"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5">
                <a:extLst>
                  <a:ext uri="{FF2B5EF4-FFF2-40B4-BE49-F238E27FC236}">
                    <a16:creationId xmlns:a16="http://schemas.microsoft.com/office/drawing/2014/main" id="{50089905-5596-41DD-9915-587ED098601D}"/>
                  </a:ext>
                </a:extLst>
              </p:cNvPr>
              <p:cNvSpPr>
                <a:spLocks/>
              </p:cNvSpPr>
              <p:nvPr/>
            </p:nvSpPr>
            <p:spPr bwMode="auto">
              <a:xfrm>
                <a:off x="2212" y="625"/>
                <a:ext cx="999" cy="665"/>
              </a:xfrm>
              <a:custGeom>
                <a:avLst/>
                <a:gdLst>
                  <a:gd name="T0" fmla="*/ 6 w 857"/>
                  <a:gd name="T1" fmla="*/ 111 h 568"/>
                  <a:gd name="T2" fmla="*/ 15 w 857"/>
                  <a:gd name="T3" fmla="*/ 149 h 568"/>
                  <a:gd name="T4" fmla="*/ 49 w 857"/>
                  <a:gd name="T5" fmla="*/ 272 h 568"/>
                  <a:gd name="T6" fmla="*/ 59 w 857"/>
                  <a:gd name="T7" fmla="*/ 274 h 568"/>
                  <a:gd name="T8" fmla="*/ 70 w 857"/>
                  <a:gd name="T9" fmla="*/ 277 h 568"/>
                  <a:gd name="T10" fmla="*/ 71 w 857"/>
                  <a:gd name="T11" fmla="*/ 291 h 568"/>
                  <a:gd name="T12" fmla="*/ 67 w 857"/>
                  <a:gd name="T13" fmla="*/ 305 h 568"/>
                  <a:gd name="T14" fmla="*/ 55 w 857"/>
                  <a:gd name="T15" fmla="*/ 381 h 568"/>
                  <a:gd name="T16" fmla="*/ 60 w 857"/>
                  <a:gd name="T17" fmla="*/ 384 h 568"/>
                  <a:gd name="T18" fmla="*/ 72 w 857"/>
                  <a:gd name="T19" fmla="*/ 410 h 568"/>
                  <a:gd name="T20" fmla="*/ 72 w 857"/>
                  <a:gd name="T21" fmla="*/ 416 h 568"/>
                  <a:gd name="T22" fmla="*/ 81 w 857"/>
                  <a:gd name="T23" fmla="*/ 453 h 568"/>
                  <a:gd name="T24" fmla="*/ 93 w 857"/>
                  <a:gd name="T25" fmla="*/ 482 h 568"/>
                  <a:gd name="T26" fmla="*/ 97 w 857"/>
                  <a:gd name="T27" fmla="*/ 504 h 568"/>
                  <a:gd name="T28" fmla="*/ 106 w 857"/>
                  <a:gd name="T29" fmla="*/ 529 h 568"/>
                  <a:gd name="T30" fmla="*/ 115 w 857"/>
                  <a:gd name="T31" fmla="*/ 551 h 568"/>
                  <a:gd name="T32" fmla="*/ 116 w 857"/>
                  <a:gd name="T33" fmla="*/ 551 h 568"/>
                  <a:gd name="T34" fmla="*/ 155 w 857"/>
                  <a:gd name="T35" fmla="*/ 561 h 568"/>
                  <a:gd name="T36" fmla="*/ 196 w 857"/>
                  <a:gd name="T37" fmla="*/ 564 h 568"/>
                  <a:gd name="T38" fmla="*/ 236 w 857"/>
                  <a:gd name="T39" fmla="*/ 567 h 568"/>
                  <a:gd name="T40" fmla="*/ 240 w 857"/>
                  <a:gd name="T41" fmla="*/ 567 h 568"/>
                  <a:gd name="T42" fmla="*/ 253 w 857"/>
                  <a:gd name="T43" fmla="*/ 568 h 568"/>
                  <a:gd name="T44" fmla="*/ 260 w 857"/>
                  <a:gd name="T45" fmla="*/ 499 h 568"/>
                  <a:gd name="T46" fmla="*/ 265 w 857"/>
                  <a:gd name="T47" fmla="*/ 497 h 568"/>
                  <a:gd name="T48" fmla="*/ 857 w 857"/>
                  <a:gd name="T49" fmla="*/ 497 h 568"/>
                  <a:gd name="T50" fmla="*/ 857 w 857"/>
                  <a:gd name="T51" fmla="*/ 430 h 568"/>
                  <a:gd name="T52" fmla="*/ 856 w 857"/>
                  <a:gd name="T53" fmla="*/ 428 h 568"/>
                  <a:gd name="T54" fmla="*/ 857 w 857"/>
                  <a:gd name="T55" fmla="*/ 426 h 568"/>
                  <a:gd name="T56" fmla="*/ 857 w 857"/>
                  <a:gd name="T57" fmla="*/ 103 h 568"/>
                  <a:gd name="T58" fmla="*/ 857 w 857"/>
                  <a:gd name="T59" fmla="*/ 39 h 568"/>
                  <a:gd name="T60" fmla="*/ 584 w 857"/>
                  <a:gd name="T61" fmla="*/ 35 h 568"/>
                  <a:gd name="T62" fmla="*/ 455 w 857"/>
                  <a:gd name="T63" fmla="*/ 32 h 568"/>
                  <a:gd name="T64" fmla="*/ 87 w 857"/>
                  <a:gd name="T65" fmla="*/ 6 h 568"/>
                  <a:gd name="T66" fmla="*/ 16 w 857"/>
                  <a:gd name="T67" fmla="*/ 0 h 568"/>
                  <a:gd name="T68" fmla="*/ 6 w 857"/>
                  <a:gd name="T69" fmla="*/ 111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7" h="568">
                    <a:moveTo>
                      <a:pt x="6" y="111"/>
                    </a:moveTo>
                    <a:cubicBezTo>
                      <a:pt x="8" y="118"/>
                      <a:pt x="11" y="132"/>
                      <a:pt x="15" y="149"/>
                    </a:cubicBezTo>
                    <a:cubicBezTo>
                      <a:pt x="24" y="187"/>
                      <a:pt x="42" y="266"/>
                      <a:pt x="49" y="272"/>
                    </a:cubicBezTo>
                    <a:cubicBezTo>
                      <a:pt x="52" y="274"/>
                      <a:pt x="55" y="274"/>
                      <a:pt x="59" y="274"/>
                    </a:cubicBezTo>
                    <a:cubicBezTo>
                      <a:pt x="63" y="274"/>
                      <a:pt x="67" y="274"/>
                      <a:pt x="70" y="277"/>
                    </a:cubicBezTo>
                    <a:cubicBezTo>
                      <a:pt x="72" y="280"/>
                      <a:pt x="72" y="284"/>
                      <a:pt x="71" y="291"/>
                    </a:cubicBezTo>
                    <a:cubicBezTo>
                      <a:pt x="70" y="294"/>
                      <a:pt x="69" y="299"/>
                      <a:pt x="67" y="305"/>
                    </a:cubicBezTo>
                    <a:cubicBezTo>
                      <a:pt x="63" y="322"/>
                      <a:pt x="49" y="375"/>
                      <a:pt x="55" y="381"/>
                    </a:cubicBezTo>
                    <a:cubicBezTo>
                      <a:pt x="57" y="382"/>
                      <a:pt x="59" y="383"/>
                      <a:pt x="60" y="384"/>
                    </a:cubicBezTo>
                    <a:cubicBezTo>
                      <a:pt x="68" y="388"/>
                      <a:pt x="71" y="391"/>
                      <a:pt x="72" y="410"/>
                    </a:cubicBezTo>
                    <a:cubicBezTo>
                      <a:pt x="72" y="416"/>
                      <a:pt x="72" y="416"/>
                      <a:pt x="72" y="416"/>
                    </a:cubicBezTo>
                    <a:cubicBezTo>
                      <a:pt x="73" y="436"/>
                      <a:pt x="74" y="448"/>
                      <a:pt x="81" y="453"/>
                    </a:cubicBezTo>
                    <a:cubicBezTo>
                      <a:pt x="91" y="460"/>
                      <a:pt x="94" y="469"/>
                      <a:pt x="93" y="482"/>
                    </a:cubicBezTo>
                    <a:cubicBezTo>
                      <a:pt x="92" y="492"/>
                      <a:pt x="92" y="500"/>
                      <a:pt x="97" y="504"/>
                    </a:cubicBezTo>
                    <a:cubicBezTo>
                      <a:pt x="106" y="511"/>
                      <a:pt x="106" y="515"/>
                      <a:pt x="106" y="529"/>
                    </a:cubicBezTo>
                    <a:cubicBezTo>
                      <a:pt x="106" y="541"/>
                      <a:pt x="112" y="550"/>
                      <a:pt x="115" y="551"/>
                    </a:cubicBezTo>
                    <a:cubicBezTo>
                      <a:pt x="115" y="551"/>
                      <a:pt x="116" y="551"/>
                      <a:pt x="116" y="551"/>
                    </a:cubicBezTo>
                    <a:cubicBezTo>
                      <a:pt x="123" y="554"/>
                      <a:pt x="143" y="561"/>
                      <a:pt x="155" y="561"/>
                    </a:cubicBezTo>
                    <a:cubicBezTo>
                      <a:pt x="162" y="561"/>
                      <a:pt x="178" y="562"/>
                      <a:pt x="196" y="564"/>
                    </a:cubicBezTo>
                    <a:cubicBezTo>
                      <a:pt x="212" y="565"/>
                      <a:pt x="229" y="567"/>
                      <a:pt x="236" y="567"/>
                    </a:cubicBezTo>
                    <a:cubicBezTo>
                      <a:pt x="237" y="567"/>
                      <a:pt x="239" y="567"/>
                      <a:pt x="240" y="567"/>
                    </a:cubicBezTo>
                    <a:cubicBezTo>
                      <a:pt x="245" y="566"/>
                      <a:pt x="250" y="566"/>
                      <a:pt x="253" y="568"/>
                    </a:cubicBezTo>
                    <a:cubicBezTo>
                      <a:pt x="253" y="543"/>
                      <a:pt x="254" y="506"/>
                      <a:pt x="260" y="499"/>
                    </a:cubicBezTo>
                    <a:cubicBezTo>
                      <a:pt x="262" y="498"/>
                      <a:pt x="263" y="497"/>
                      <a:pt x="265" y="497"/>
                    </a:cubicBezTo>
                    <a:cubicBezTo>
                      <a:pt x="857" y="497"/>
                      <a:pt x="857" y="497"/>
                      <a:pt x="857" y="497"/>
                    </a:cubicBezTo>
                    <a:cubicBezTo>
                      <a:pt x="857" y="430"/>
                      <a:pt x="857" y="430"/>
                      <a:pt x="857" y="430"/>
                    </a:cubicBezTo>
                    <a:cubicBezTo>
                      <a:pt x="856" y="430"/>
                      <a:pt x="856" y="429"/>
                      <a:pt x="856" y="428"/>
                    </a:cubicBezTo>
                    <a:cubicBezTo>
                      <a:pt x="856" y="427"/>
                      <a:pt x="856" y="427"/>
                      <a:pt x="857" y="426"/>
                    </a:cubicBezTo>
                    <a:cubicBezTo>
                      <a:pt x="857" y="103"/>
                      <a:pt x="857" y="103"/>
                      <a:pt x="857" y="103"/>
                    </a:cubicBezTo>
                    <a:cubicBezTo>
                      <a:pt x="857" y="39"/>
                      <a:pt x="857" y="39"/>
                      <a:pt x="857" y="39"/>
                    </a:cubicBezTo>
                    <a:cubicBezTo>
                      <a:pt x="788" y="40"/>
                      <a:pt x="679" y="37"/>
                      <a:pt x="584" y="35"/>
                    </a:cubicBezTo>
                    <a:cubicBezTo>
                      <a:pt x="535" y="34"/>
                      <a:pt x="489" y="32"/>
                      <a:pt x="455" y="32"/>
                    </a:cubicBezTo>
                    <a:cubicBezTo>
                      <a:pt x="382" y="31"/>
                      <a:pt x="197" y="15"/>
                      <a:pt x="87" y="6"/>
                    </a:cubicBezTo>
                    <a:cubicBezTo>
                      <a:pt x="56" y="3"/>
                      <a:pt x="31" y="1"/>
                      <a:pt x="16" y="0"/>
                    </a:cubicBezTo>
                    <a:cubicBezTo>
                      <a:pt x="13" y="17"/>
                      <a:pt x="0" y="90"/>
                      <a:pt x="6" y="111"/>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96">
                <a:extLst>
                  <a:ext uri="{FF2B5EF4-FFF2-40B4-BE49-F238E27FC236}">
                    <a16:creationId xmlns:a16="http://schemas.microsoft.com/office/drawing/2014/main" id="{5676926D-7621-4FD1-B65C-A1BEAEDB1422}"/>
                  </a:ext>
                </a:extLst>
              </p:cNvPr>
              <p:cNvSpPr>
                <a:spLocks/>
              </p:cNvSpPr>
              <p:nvPr/>
            </p:nvSpPr>
            <p:spPr bwMode="auto">
              <a:xfrm>
                <a:off x="5390" y="2111"/>
                <a:ext cx="971" cy="448"/>
              </a:xfrm>
              <a:custGeom>
                <a:avLst/>
                <a:gdLst>
                  <a:gd name="T0" fmla="*/ 211 w 825"/>
                  <a:gd name="T1" fmla="*/ 171 h 381"/>
                  <a:gd name="T2" fmla="*/ 168 w 825"/>
                  <a:gd name="T3" fmla="*/ 192 h 381"/>
                  <a:gd name="T4" fmla="*/ 155 w 825"/>
                  <a:gd name="T5" fmla="*/ 185 h 381"/>
                  <a:gd name="T6" fmla="*/ 146 w 825"/>
                  <a:gd name="T7" fmla="*/ 203 h 381"/>
                  <a:gd name="T8" fmla="*/ 123 w 825"/>
                  <a:gd name="T9" fmla="*/ 262 h 381"/>
                  <a:gd name="T10" fmla="*/ 78 w 825"/>
                  <a:gd name="T11" fmla="*/ 305 h 381"/>
                  <a:gd name="T12" fmla="*/ 27 w 825"/>
                  <a:gd name="T13" fmla="*/ 315 h 381"/>
                  <a:gd name="T14" fmla="*/ 25 w 825"/>
                  <a:gd name="T15" fmla="*/ 335 h 381"/>
                  <a:gd name="T16" fmla="*/ 0 w 825"/>
                  <a:gd name="T17" fmla="*/ 363 h 381"/>
                  <a:gd name="T18" fmla="*/ 103 w 825"/>
                  <a:gd name="T19" fmla="*/ 362 h 381"/>
                  <a:gd name="T20" fmla="*/ 203 w 825"/>
                  <a:gd name="T21" fmla="*/ 316 h 381"/>
                  <a:gd name="T22" fmla="*/ 265 w 825"/>
                  <a:gd name="T23" fmla="*/ 303 h 381"/>
                  <a:gd name="T24" fmla="*/ 301 w 825"/>
                  <a:gd name="T25" fmla="*/ 306 h 381"/>
                  <a:gd name="T26" fmla="*/ 339 w 825"/>
                  <a:gd name="T27" fmla="*/ 322 h 381"/>
                  <a:gd name="T28" fmla="*/ 411 w 825"/>
                  <a:gd name="T29" fmla="*/ 307 h 381"/>
                  <a:gd name="T30" fmla="*/ 528 w 825"/>
                  <a:gd name="T31" fmla="*/ 327 h 381"/>
                  <a:gd name="T32" fmla="*/ 637 w 825"/>
                  <a:gd name="T33" fmla="*/ 366 h 381"/>
                  <a:gd name="T34" fmla="*/ 653 w 825"/>
                  <a:gd name="T35" fmla="*/ 368 h 381"/>
                  <a:gd name="T36" fmla="*/ 669 w 825"/>
                  <a:gd name="T37" fmla="*/ 289 h 381"/>
                  <a:gd name="T38" fmla="*/ 722 w 825"/>
                  <a:gd name="T39" fmla="*/ 243 h 381"/>
                  <a:gd name="T40" fmla="*/ 767 w 825"/>
                  <a:gd name="T41" fmla="*/ 240 h 381"/>
                  <a:gd name="T42" fmla="*/ 775 w 825"/>
                  <a:gd name="T43" fmla="*/ 231 h 381"/>
                  <a:gd name="T44" fmla="*/ 798 w 825"/>
                  <a:gd name="T45" fmla="*/ 221 h 381"/>
                  <a:gd name="T46" fmla="*/ 802 w 825"/>
                  <a:gd name="T47" fmla="*/ 205 h 381"/>
                  <a:gd name="T48" fmla="*/ 778 w 825"/>
                  <a:gd name="T49" fmla="*/ 207 h 381"/>
                  <a:gd name="T50" fmla="*/ 753 w 825"/>
                  <a:gd name="T51" fmla="*/ 231 h 381"/>
                  <a:gd name="T52" fmla="*/ 699 w 825"/>
                  <a:gd name="T53" fmla="*/ 203 h 381"/>
                  <a:gd name="T54" fmla="*/ 737 w 825"/>
                  <a:gd name="T55" fmla="*/ 206 h 381"/>
                  <a:gd name="T56" fmla="*/ 744 w 825"/>
                  <a:gd name="T57" fmla="*/ 201 h 381"/>
                  <a:gd name="T58" fmla="*/ 750 w 825"/>
                  <a:gd name="T59" fmla="*/ 171 h 381"/>
                  <a:gd name="T60" fmla="*/ 722 w 825"/>
                  <a:gd name="T61" fmla="*/ 140 h 381"/>
                  <a:gd name="T62" fmla="*/ 758 w 825"/>
                  <a:gd name="T63" fmla="*/ 152 h 381"/>
                  <a:gd name="T64" fmla="*/ 793 w 825"/>
                  <a:gd name="T65" fmla="*/ 123 h 381"/>
                  <a:gd name="T66" fmla="*/ 817 w 825"/>
                  <a:gd name="T67" fmla="*/ 121 h 381"/>
                  <a:gd name="T68" fmla="*/ 821 w 825"/>
                  <a:gd name="T69" fmla="*/ 85 h 381"/>
                  <a:gd name="T70" fmla="*/ 800 w 825"/>
                  <a:gd name="T71" fmla="*/ 69 h 381"/>
                  <a:gd name="T72" fmla="*/ 796 w 825"/>
                  <a:gd name="T73" fmla="*/ 113 h 381"/>
                  <a:gd name="T74" fmla="*/ 781 w 825"/>
                  <a:gd name="T75" fmla="*/ 72 h 381"/>
                  <a:gd name="T76" fmla="*/ 743 w 825"/>
                  <a:gd name="T77" fmla="*/ 87 h 381"/>
                  <a:gd name="T78" fmla="*/ 689 w 825"/>
                  <a:gd name="T79" fmla="*/ 111 h 381"/>
                  <a:gd name="T80" fmla="*/ 674 w 825"/>
                  <a:gd name="T81" fmla="*/ 52 h 381"/>
                  <a:gd name="T82" fmla="*/ 704 w 825"/>
                  <a:gd name="T83" fmla="*/ 81 h 381"/>
                  <a:gd name="T84" fmla="*/ 718 w 825"/>
                  <a:gd name="T85" fmla="*/ 69 h 381"/>
                  <a:gd name="T86" fmla="*/ 731 w 825"/>
                  <a:gd name="T87" fmla="*/ 47 h 381"/>
                  <a:gd name="T88" fmla="*/ 750 w 825"/>
                  <a:gd name="T89" fmla="*/ 38 h 381"/>
                  <a:gd name="T90" fmla="*/ 786 w 825"/>
                  <a:gd name="T91" fmla="*/ 42 h 381"/>
                  <a:gd name="T92" fmla="*/ 760 w 825"/>
                  <a:gd name="T93" fmla="*/ 17 h 381"/>
                  <a:gd name="T94" fmla="*/ 235 w 825"/>
                  <a:gd name="T95" fmla="*/ 12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5" h="381">
                    <a:moveTo>
                      <a:pt x="235" y="124"/>
                    </a:moveTo>
                    <a:cubicBezTo>
                      <a:pt x="237" y="133"/>
                      <a:pt x="240" y="153"/>
                      <a:pt x="227" y="162"/>
                    </a:cubicBezTo>
                    <a:cubicBezTo>
                      <a:pt x="221" y="166"/>
                      <a:pt x="216" y="169"/>
                      <a:pt x="211" y="171"/>
                    </a:cubicBezTo>
                    <a:cubicBezTo>
                      <a:pt x="203" y="175"/>
                      <a:pt x="201" y="176"/>
                      <a:pt x="201" y="180"/>
                    </a:cubicBezTo>
                    <a:cubicBezTo>
                      <a:pt x="201" y="187"/>
                      <a:pt x="193" y="192"/>
                      <a:pt x="187" y="194"/>
                    </a:cubicBezTo>
                    <a:cubicBezTo>
                      <a:pt x="181" y="197"/>
                      <a:pt x="173" y="197"/>
                      <a:pt x="168" y="192"/>
                    </a:cubicBezTo>
                    <a:cubicBezTo>
                      <a:pt x="165" y="189"/>
                      <a:pt x="165" y="186"/>
                      <a:pt x="166" y="184"/>
                    </a:cubicBezTo>
                    <a:cubicBezTo>
                      <a:pt x="165" y="184"/>
                      <a:pt x="164" y="184"/>
                      <a:pt x="163" y="184"/>
                    </a:cubicBezTo>
                    <a:cubicBezTo>
                      <a:pt x="157" y="184"/>
                      <a:pt x="155" y="185"/>
                      <a:pt x="155" y="185"/>
                    </a:cubicBezTo>
                    <a:cubicBezTo>
                      <a:pt x="154" y="186"/>
                      <a:pt x="154" y="187"/>
                      <a:pt x="154" y="189"/>
                    </a:cubicBezTo>
                    <a:cubicBezTo>
                      <a:pt x="154" y="190"/>
                      <a:pt x="154" y="190"/>
                      <a:pt x="154" y="190"/>
                    </a:cubicBezTo>
                    <a:cubicBezTo>
                      <a:pt x="154" y="194"/>
                      <a:pt x="151" y="201"/>
                      <a:pt x="146" y="203"/>
                    </a:cubicBezTo>
                    <a:cubicBezTo>
                      <a:pt x="144" y="205"/>
                      <a:pt x="140" y="204"/>
                      <a:pt x="138" y="203"/>
                    </a:cubicBezTo>
                    <a:cubicBezTo>
                      <a:pt x="137" y="204"/>
                      <a:pt x="136" y="208"/>
                      <a:pt x="136" y="212"/>
                    </a:cubicBezTo>
                    <a:cubicBezTo>
                      <a:pt x="137" y="212"/>
                      <a:pt x="139" y="254"/>
                      <a:pt x="123" y="262"/>
                    </a:cubicBezTo>
                    <a:cubicBezTo>
                      <a:pt x="112" y="268"/>
                      <a:pt x="102" y="275"/>
                      <a:pt x="96" y="284"/>
                    </a:cubicBezTo>
                    <a:cubicBezTo>
                      <a:pt x="94" y="287"/>
                      <a:pt x="94" y="289"/>
                      <a:pt x="93" y="292"/>
                    </a:cubicBezTo>
                    <a:cubicBezTo>
                      <a:pt x="91" y="297"/>
                      <a:pt x="89" y="304"/>
                      <a:pt x="78" y="305"/>
                    </a:cubicBezTo>
                    <a:cubicBezTo>
                      <a:pt x="74" y="306"/>
                      <a:pt x="69" y="306"/>
                      <a:pt x="64" y="306"/>
                    </a:cubicBezTo>
                    <a:cubicBezTo>
                      <a:pt x="55" y="307"/>
                      <a:pt x="42" y="307"/>
                      <a:pt x="39" y="310"/>
                    </a:cubicBezTo>
                    <a:cubicBezTo>
                      <a:pt x="36" y="314"/>
                      <a:pt x="31" y="315"/>
                      <a:pt x="27" y="315"/>
                    </a:cubicBezTo>
                    <a:cubicBezTo>
                      <a:pt x="24" y="315"/>
                      <a:pt x="20" y="316"/>
                      <a:pt x="19" y="317"/>
                    </a:cubicBezTo>
                    <a:cubicBezTo>
                      <a:pt x="19" y="318"/>
                      <a:pt x="19" y="319"/>
                      <a:pt x="19" y="321"/>
                    </a:cubicBezTo>
                    <a:cubicBezTo>
                      <a:pt x="21" y="327"/>
                      <a:pt x="23" y="331"/>
                      <a:pt x="25" y="335"/>
                    </a:cubicBezTo>
                    <a:cubicBezTo>
                      <a:pt x="27" y="340"/>
                      <a:pt x="31" y="346"/>
                      <a:pt x="24" y="350"/>
                    </a:cubicBezTo>
                    <a:cubicBezTo>
                      <a:pt x="21" y="352"/>
                      <a:pt x="18" y="354"/>
                      <a:pt x="14" y="355"/>
                    </a:cubicBezTo>
                    <a:cubicBezTo>
                      <a:pt x="7" y="357"/>
                      <a:pt x="1" y="359"/>
                      <a:pt x="0" y="363"/>
                    </a:cubicBezTo>
                    <a:cubicBezTo>
                      <a:pt x="0" y="367"/>
                      <a:pt x="0" y="372"/>
                      <a:pt x="1" y="376"/>
                    </a:cubicBezTo>
                    <a:cubicBezTo>
                      <a:pt x="1" y="378"/>
                      <a:pt x="1" y="380"/>
                      <a:pt x="1" y="381"/>
                    </a:cubicBezTo>
                    <a:cubicBezTo>
                      <a:pt x="19" y="380"/>
                      <a:pt x="88" y="371"/>
                      <a:pt x="103" y="362"/>
                    </a:cubicBezTo>
                    <a:cubicBezTo>
                      <a:pt x="111" y="358"/>
                      <a:pt x="114" y="354"/>
                      <a:pt x="119" y="349"/>
                    </a:cubicBezTo>
                    <a:cubicBezTo>
                      <a:pt x="123" y="344"/>
                      <a:pt x="128" y="339"/>
                      <a:pt x="140" y="333"/>
                    </a:cubicBezTo>
                    <a:cubicBezTo>
                      <a:pt x="159" y="324"/>
                      <a:pt x="183" y="318"/>
                      <a:pt x="203" y="316"/>
                    </a:cubicBezTo>
                    <a:cubicBezTo>
                      <a:pt x="220" y="314"/>
                      <a:pt x="223" y="313"/>
                      <a:pt x="231" y="307"/>
                    </a:cubicBezTo>
                    <a:cubicBezTo>
                      <a:pt x="238" y="300"/>
                      <a:pt x="248" y="301"/>
                      <a:pt x="256" y="302"/>
                    </a:cubicBezTo>
                    <a:cubicBezTo>
                      <a:pt x="259" y="302"/>
                      <a:pt x="262" y="303"/>
                      <a:pt x="265" y="303"/>
                    </a:cubicBezTo>
                    <a:cubicBezTo>
                      <a:pt x="272" y="303"/>
                      <a:pt x="276" y="308"/>
                      <a:pt x="278" y="312"/>
                    </a:cubicBezTo>
                    <a:cubicBezTo>
                      <a:pt x="281" y="316"/>
                      <a:pt x="282" y="317"/>
                      <a:pt x="285" y="317"/>
                    </a:cubicBezTo>
                    <a:cubicBezTo>
                      <a:pt x="290" y="317"/>
                      <a:pt x="296" y="311"/>
                      <a:pt x="301" y="306"/>
                    </a:cubicBezTo>
                    <a:cubicBezTo>
                      <a:pt x="308" y="301"/>
                      <a:pt x="313" y="296"/>
                      <a:pt x="318" y="296"/>
                    </a:cubicBezTo>
                    <a:cubicBezTo>
                      <a:pt x="325" y="295"/>
                      <a:pt x="327" y="302"/>
                      <a:pt x="329" y="308"/>
                    </a:cubicBezTo>
                    <a:cubicBezTo>
                      <a:pt x="331" y="317"/>
                      <a:pt x="332" y="322"/>
                      <a:pt x="339" y="322"/>
                    </a:cubicBezTo>
                    <a:cubicBezTo>
                      <a:pt x="347" y="322"/>
                      <a:pt x="356" y="319"/>
                      <a:pt x="367" y="317"/>
                    </a:cubicBezTo>
                    <a:cubicBezTo>
                      <a:pt x="376" y="314"/>
                      <a:pt x="386" y="311"/>
                      <a:pt x="397" y="310"/>
                    </a:cubicBezTo>
                    <a:cubicBezTo>
                      <a:pt x="402" y="309"/>
                      <a:pt x="406" y="308"/>
                      <a:pt x="411" y="307"/>
                    </a:cubicBezTo>
                    <a:cubicBezTo>
                      <a:pt x="436" y="303"/>
                      <a:pt x="464" y="299"/>
                      <a:pt x="476" y="304"/>
                    </a:cubicBezTo>
                    <a:cubicBezTo>
                      <a:pt x="479" y="305"/>
                      <a:pt x="483" y="306"/>
                      <a:pt x="487" y="308"/>
                    </a:cubicBezTo>
                    <a:cubicBezTo>
                      <a:pt x="501" y="314"/>
                      <a:pt x="519" y="320"/>
                      <a:pt x="528" y="327"/>
                    </a:cubicBezTo>
                    <a:cubicBezTo>
                      <a:pt x="537" y="334"/>
                      <a:pt x="582" y="355"/>
                      <a:pt x="607" y="366"/>
                    </a:cubicBezTo>
                    <a:cubicBezTo>
                      <a:pt x="609" y="364"/>
                      <a:pt x="613" y="363"/>
                      <a:pt x="617" y="363"/>
                    </a:cubicBezTo>
                    <a:cubicBezTo>
                      <a:pt x="622" y="363"/>
                      <a:pt x="629" y="365"/>
                      <a:pt x="637" y="366"/>
                    </a:cubicBezTo>
                    <a:cubicBezTo>
                      <a:pt x="640" y="367"/>
                      <a:pt x="643" y="368"/>
                      <a:pt x="647" y="369"/>
                    </a:cubicBezTo>
                    <a:cubicBezTo>
                      <a:pt x="648" y="369"/>
                      <a:pt x="649" y="369"/>
                      <a:pt x="649" y="369"/>
                    </a:cubicBezTo>
                    <a:cubicBezTo>
                      <a:pt x="651" y="369"/>
                      <a:pt x="652" y="368"/>
                      <a:pt x="653" y="368"/>
                    </a:cubicBezTo>
                    <a:cubicBezTo>
                      <a:pt x="656" y="363"/>
                      <a:pt x="653" y="347"/>
                      <a:pt x="650" y="337"/>
                    </a:cubicBezTo>
                    <a:cubicBezTo>
                      <a:pt x="649" y="332"/>
                      <a:pt x="648" y="328"/>
                      <a:pt x="648" y="325"/>
                    </a:cubicBezTo>
                    <a:cubicBezTo>
                      <a:pt x="646" y="309"/>
                      <a:pt x="657" y="299"/>
                      <a:pt x="669" y="289"/>
                    </a:cubicBezTo>
                    <a:cubicBezTo>
                      <a:pt x="671" y="287"/>
                      <a:pt x="673" y="285"/>
                      <a:pt x="676" y="283"/>
                    </a:cubicBezTo>
                    <a:cubicBezTo>
                      <a:pt x="681" y="278"/>
                      <a:pt x="687" y="273"/>
                      <a:pt x="694" y="268"/>
                    </a:cubicBezTo>
                    <a:cubicBezTo>
                      <a:pt x="706" y="259"/>
                      <a:pt x="719" y="248"/>
                      <a:pt x="722" y="243"/>
                    </a:cubicBezTo>
                    <a:cubicBezTo>
                      <a:pt x="724" y="238"/>
                      <a:pt x="729" y="236"/>
                      <a:pt x="735" y="236"/>
                    </a:cubicBezTo>
                    <a:cubicBezTo>
                      <a:pt x="740" y="236"/>
                      <a:pt x="746" y="237"/>
                      <a:pt x="752" y="238"/>
                    </a:cubicBezTo>
                    <a:cubicBezTo>
                      <a:pt x="757" y="239"/>
                      <a:pt x="763" y="240"/>
                      <a:pt x="767" y="240"/>
                    </a:cubicBezTo>
                    <a:cubicBezTo>
                      <a:pt x="773" y="240"/>
                      <a:pt x="774" y="239"/>
                      <a:pt x="774" y="239"/>
                    </a:cubicBezTo>
                    <a:cubicBezTo>
                      <a:pt x="775" y="238"/>
                      <a:pt x="775" y="236"/>
                      <a:pt x="775" y="234"/>
                    </a:cubicBezTo>
                    <a:cubicBezTo>
                      <a:pt x="775" y="233"/>
                      <a:pt x="775" y="232"/>
                      <a:pt x="775" y="231"/>
                    </a:cubicBezTo>
                    <a:cubicBezTo>
                      <a:pt x="775" y="226"/>
                      <a:pt x="777" y="220"/>
                      <a:pt x="788" y="220"/>
                    </a:cubicBezTo>
                    <a:cubicBezTo>
                      <a:pt x="789" y="220"/>
                      <a:pt x="790" y="220"/>
                      <a:pt x="791" y="221"/>
                    </a:cubicBezTo>
                    <a:cubicBezTo>
                      <a:pt x="794" y="221"/>
                      <a:pt x="796" y="221"/>
                      <a:pt x="798" y="221"/>
                    </a:cubicBezTo>
                    <a:cubicBezTo>
                      <a:pt x="799" y="221"/>
                      <a:pt x="800" y="221"/>
                      <a:pt x="800" y="221"/>
                    </a:cubicBezTo>
                    <a:cubicBezTo>
                      <a:pt x="801" y="221"/>
                      <a:pt x="802" y="221"/>
                      <a:pt x="803" y="216"/>
                    </a:cubicBezTo>
                    <a:cubicBezTo>
                      <a:pt x="803" y="210"/>
                      <a:pt x="803" y="207"/>
                      <a:pt x="802" y="205"/>
                    </a:cubicBezTo>
                    <a:cubicBezTo>
                      <a:pt x="802" y="205"/>
                      <a:pt x="801" y="205"/>
                      <a:pt x="801" y="206"/>
                    </a:cubicBezTo>
                    <a:cubicBezTo>
                      <a:pt x="798" y="208"/>
                      <a:pt x="795" y="211"/>
                      <a:pt x="791" y="211"/>
                    </a:cubicBezTo>
                    <a:cubicBezTo>
                      <a:pt x="784" y="212"/>
                      <a:pt x="781" y="209"/>
                      <a:pt x="778" y="207"/>
                    </a:cubicBezTo>
                    <a:cubicBezTo>
                      <a:pt x="776" y="205"/>
                      <a:pt x="774" y="203"/>
                      <a:pt x="771" y="203"/>
                    </a:cubicBezTo>
                    <a:cubicBezTo>
                      <a:pt x="767" y="203"/>
                      <a:pt x="763" y="211"/>
                      <a:pt x="760" y="218"/>
                    </a:cubicBezTo>
                    <a:cubicBezTo>
                      <a:pt x="758" y="223"/>
                      <a:pt x="756" y="227"/>
                      <a:pt x="753" y="231"/>
                    </a:cubicBezTo>
                    <a:cubicBezTo>
                      <a:pt x="751" y="232"/>
                      <a:pt x="748" y="235"/>
                      <a:pt x="743" y="235"/>
                    </a:cubicBezTo>
                    <a:cubicBezTo>
                      <a:pt x="731" y="235"/>
                      <a:pt x="712" y="223"/>
                      <a:pt x="703" y="213"/>
                    </a:cubicBezTo>
                    <a:cubicBezTo>
                      <a:pt x="700" y="210"/>
                      <a:pt x="697" y="206"/>
                      <a:pt x="699" y="203"/>
                    </a:cubicBezTo>
                    <a:cubicBezTo>
                      <a:pt x="700" y="201"/>
                      <a:pt x="701" y="199"/>
                      <a:pt x="705" y="199"/>
                    </a:cubicBezTo>
                    <a:cubicBezTo>
                      <a:pt x="708" y="199"/>
                      <a:pt x="713" y="201"/>
                      <a:pt x="719" y="202"/>
                    </a:cubicBezTo>
                    <a:cubicBezTo>
                      <a:pt x="724" y="203"/>
                      <a:pt x="730" y="205"/>
                      <a:pt x="737" y="206"/>
                    </a:cubicBezTo>
                    <a:cubicBezTo>
                      <a:pt x="741" y="206"/>
                      <a:pt x="744" y="206"/>
                      <a:pt x="745" y="206"/>
                    </a:cubicBezTo>
                    <a:cubicBezTo>
                      <a:pt x="745" y="206"/>
                      <a:pt x="745" y="206"/>
                      <a:pt x="745" y="206"/>
                    </a:cubicBezTo>
                    <a:cubicBezTo>
                      <a:pt x="744" y="204"/>
                      <a:pt x="743" y="203"/>
                      <a:pt x="744" y="201"/>
                    </a:cubicBezTo>
                    <a:cubicBezTo>
                      <a:pt x="745" y="199"/>
                      <a:pt x="752" y="183"/>
                      <a:pt x="757" y="178"/>
                    </a:cubicBezTo>
                    <a:cubicBezTo>
                      <a:pt x="759" y="176"/>
                      <a:pt x="760" y="174"/>
                      <a:pt x="760" y="173"/>
                    </a:cubicBezTo>
                    <a:cubicBezTo>
                      <a:pt x="759" y="172"/>
                      <a:pt x="757" y="171"/>
                      <a:pt x="750" y="171"/>
                    </a:cubicBezTo>
                    <a:cubicBezTo>
                      <a:pt x="749" y="171"/>
                      <a:pt x="748" y="171"/>
                      <a:pt x="747" y="171"/>
                    </a:cubicBezTo>
                    <a:cubicBezTo>
                      <a:pt x="722" y="172"/>
                      <a:pt x="711" y="158"/>
                      <a:pt x="711" y="148"/>
                    </a:cubicBezTo>
                    <a:cubicBezTo>
                      <a:pt x="711" y="143"/>
                      <a:pt x="716" y="140"/>
                      <a:pt x="722" y="140"/>
                    </a:cubicBezTo>
                    <a:cubicBezTo>
                      <a:pt x="727" y="140"/>
                      <a:pt x="736" y="143"/>
                      <a:pt x="742" y="151"/>
                    </a:cubicBezTo>
                    <a:cubicBezTo>
                      <a:pt x="743" y="153"/>
                      <a:pt x="745" y="154"/>
                      <a:pt x="748" y="154"/>
                    </a:cubicBezTo>
                    <a:cubicBezTo>
                      <a:pt x="751" y="154"/>
                      <a:pt x="754" y="153"/>
                      <a:pt x="758" y="152"/>
                    </a:cubicBezTo>
                    <a:cubicBezTo>
                      <a:pt x="763" y="151"/>
                      <a:pt x="768" y="149"/>
                      <a:pt x="774" y="149"/>
                    </a:cubicBezTo>
                    <a:cubicBezTo>
                      <a:pt x="782" y="149"/>
                      <a:pt x="785" y="142"/>
                      <a:pt x="789" y="132"/>
                    </a:cubicBezTo>
                    <a:cubicBezTo>
                      <a:pt x="790" y="129"/>
                      <a:pt x="791" y="126"/>
                      <a:pt x="793" y="123"/>
                    </a:cubicBezTo>
                    <a:cubicBezTo>
                      <a:pt x="793" y="122"/>
                      <a:pt x="796" y="118"/>
                      <a:pt x="801" y="118"/>
                    </a:cubicBezTo>
                    <a:cubicBezTo>
                      <a:pt x="803" y="118"/>
                      <a:pt x="805" y="118"/>
                      <a:pt x="807" y="119"/>
                    </a:cubicBezTo>
                    <a:cubicBezTo>
                      <a:pt x="809" y="120"/>
                      <a:pt x="812" y="121"/>
                      <a:pt x="817" y="121"/>
                    </a:cubicBezTo>
                    <a:cubicBezTo>
                      <a:pt x="822" y="121"/>
                      <a:pt x="822" y="121"/>
                      <a:pt x="822" y="116"/>
                    </a:cubicBezTo>
                    <a:cubicBezTo>
                      <a:pt x="823" y="114"/>
                      <a:pt x="823" y="111"/>
                      <a:pt x="823" y="108"/>
                    </a:cubicBezTo>
                    <a:cubicBezTo>
                      <a:pt x="825" y="101"/>
                      <a:pt x="823" y="92"/>
                      <a:pt x="821" y="85"/>
                    </a:cubicBezTo>
                    <a:cubicBezTo>
                      <a:pt x="821" y="82"/>
                      <a:pt x="820" y="80"/>
                      <a:pt x="820" y="77"/>
                    </a:cubicBezTo>
                    <a:cubicBezTo>
                      <a:pt x="819" y="71"/>
                      <a:pt x="809" y="69"/>
                      <a:pt x="801" y="69"/>
                    </a:cubicBezTo>
                    <a:cubicBezTo>
                      <a:pt x="800" y="69"/>
                      <a:pt x="800" y="69"/>
                      <a:pt x="800" y="69"/>
                    </a:cubicBezTo>
                    <a:cubicBezTo>
                      <a:pt x="798" y="73"/>
                      <a:pt x="799" y="87"/>
                      <a:pt x="800" y="95"/>
                    </a:cubicBezTo>
                    <a:cubicBezTo>
                      <a:pt x="801" y="101"/>
                      <a:pt x="802" y="105"/>
                      <a:pt x="801" y="107"/>
                    </a:cubicBezTo>
                    <a:cubicBezTo>
                      <a:pt x="800" y="112"/>
                      <a:pt x="797" y="113"/>
                      <a:pt x="796" y="113"/>
                    </a:cubicBezTo>
                    <a:cubicBezTo>
                      <a:pt x="794" y="113"/>
                      <a:pt x="791" y="113"/>
                      <a:pt x="786" y="100"/>
                    </a:cubicBezTo>
                    <a:cubicBezTo>
                      <a:pt x="785" y="100"/>
                      <a:pt x="785" y="100"/>
                      <a:pt x="785" y="100"/>
                    </a:cubicBezTo>
                    <a:cubicBezTo>
                      <a:pt x="785" y="99"/>
                      <a:pt x="781" y="84"/>
                      <a:pt x="781" y="72"/>
                    </a:cubicBezTo>
                    <a:cubicBezTo>
                      <a:pt x="781" y="71"/>
                      <a:pt x="781" y="69"/>
                      <a:pt x="777" y="69"/>
                    </a:cubicBezTo>
                    <a:cubicBezTo>
                      <a:pt x="773" y="69"/>
                      <a:pt x="769" y="71"/>
                      <a:pt x="769" y="72"/>
                    </a:cubicBezTo>
                    <a:cubicBezTo>
                      <a:pt x="766" y="80"/>
                      <a:pt x="754" y="87"/>
                      <a:pt x="743" y="87"/>
                    </a:cubicBezTo>
                    <a:cubicBezTo>
                      <a:pt x="738" y="87"/>
                      <a:pt x="737" y="89"/>
                      <a:pt x="733" y="95"/>
                    </a:cubicBezTo>
                    <a:cubicBezTo>
                      <a:pt x="731" y="97"/>
                      <a:pt x="730" y="99"/>
                      <a:pt x="728" y="101"/>
                    </a:cubicBezTo>
                    <a:cubicBezTo>
                      <a:pt x="719" y="111"/>
                      <a:pt x="699" y="111"/>
                      <a:pt x="689" y="111"/>
                    </a:cubicBezTo>
                    <a:cubicBezTo>
                      <a:pt x="673" y="111"/>
                      <a:pt x="669" y="63"/>
                      <a:pt x="669" y="61"/>
                    </a:cubicBezTo>
                    <a:cubicBezTo>
                      <a:pt x="668" y="59"/>
                      <a:pt x="668" y="56"/>
                      <a:pt x="670" y="54"/>
                    </a:cubicBezTo>
                    <a:cubicBezTo>
                      <a:pt x="671" y="52"/>
                      <a:pt x="673" y="52"/>
                      <a:pt x="674" y="52"/>
                    </a:cubicBezTo>
                    <a:cubicBezTo>
                      <a:pt x="681" y="52"/>
                      <a:pt x="689" y="65"/>
                      <a:pt x="689" y="73"/>
                    </a:cubicBezTo>
                    <a:cubicBezTo>
                      <a:pt x="689" y="75"/>
                      <a:pt x="690" y="77"/>
                      <a:pt x="693" y="79"/>
                    </a:cubicBezTo>
                    <a:cubicBezTo>
                      <a:pt x="696" y="80"/>
                      <a:pt x="700" y="81"/>
                      <a:pt x="704" y="81"/>
                    </a:cubicBezTo>
                    <a:cubicBezTo>
                      <a:pt x="705" y="81"/>
                      <a:pt x="707" y="81"/>
                      <a:pt x="708" y="81"/>
                    </a:cubicBezTo>
                    <a:cubicBezTo>
                      <a:pt x="710" y="81"/>
                      <a:pt x="710" y="80"/>
                      <a:pt x="711" y="77"/>
                    </a:cubicBezTo>
                    <a:cubicBezTo>
                      <a:pt x="712" y="75"/>
                      <a:pt x="713" y="71"/>
                      <a:pt x="718" y="69"/>
                    </a:cubicBezTo>
                    <a:cubicBezTo>
                      <a:pt x="724" y="66"/>
                      <a:pt x="729" y="59"/>
                      <a:pt x="732" y="54"/>
                    </a:cubicBezTo>
                    <a:cubicBezTo>
                      <a:pt x="733" y="54"/>
                      <a:pt x="733" y="54"/>
                      <a:pt x="733" y="54"/>
                    </a:cubicBezTo>
                    <a:cubicBezTo>
                      <a:pt x="733" y="53"/>
                      <a:pt x="732" y="49"/>
                      <a:pt x="731" y="47"/>
                    </a:cubicBezTo>
                    <a:cubicBezTo>
                      <a:pt x="729" y="43"/>
                      <a:pt x="727" y="38"/>
                      <a:pt x="729" y="34"/>
                    </a:cubicBezTo>
                    <a:cubicBezTo>
                      <a:pt x="730" y="30"/>
                      <a:pt x="734" y="28"/>
                      <a:pt x="738" y="28"/>
                    </a:cubicBezTo>
                    <a:cubicBezTo>
                      <a:pt x="743" y="28"/>
                      <a:pt x="749" y="31"/>
                      <a:pt x="750" y="38"/>
                    </a:cubicBezTo>
                    <a:cubicBezTo>
                      <a:pt x="752" y="40"/>
                      <a:pt x="761" y="40"/>
                      <a:pt x="767" y="40"/>
                    </a:cubicBezTo>
                    <a:cubicBezTo>
                      <a:pt x="772" y="41"/>
                      <a:pt x="778" y="41"/>
                      <a:pt x="785" y="42"/>
                    </a:cubicBezTo>
                    <a:cubicBezTo>
                      <a:pt x="785" y="42"/>
                      <a:pt x="785" y="42"/>
                      <a:pt x="786" y="42"/>
                    </a:cubicBezTo>
                    <a:cubicBezTo>
                      <a:pt x="784" y="40"/>
                      <a:pt x="781" y="39"/>
                      <a:pt x="780" y="38"/>
                    </a:cubicBezTo>
                    <a:cubicBezTo>
                      <a:pt x="778" y="37"/>
                      <a:pt x="777" y="36"/>
                      <a:pt x="775" y="35"/>
                    </a:cubicBezTo>
                    <a:cubicBezTo>
                      <a:pt x="768" y="30"/>
                      <a:pt x="764" y="23"/>
                      <a:pt x="760" y="17"/>
                    </a:cubicBezTo>
                    <a:cubicBezTo>
                      <a:pt x="759" y="15"/>
                      <a:pt x="757" y="13"/>
                      <a:pt x="756" y="11"/>
                    </a:cubicBezTo>
                    <a:cubicBezTo>
                      <a:pt x="754" y="8"/>
                      <a:pt x="751" y="4"/>
                      <a:pt x="751" y="0"/>
                    </a:cubicBezTo>
                    <a:lnTo>
                      <a:pt x="235"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7">
                <a:extLst>
                  <a:ext uri="{FF2B5EF4-FFF2-40B4-BE49-F238E27FC236}">
                    <a16:creationId xmlns:a16="http://schemas.microsoft.com/office/drawing/2014/main" id="{0A6C3F6A-A38F-4393-AF78-D828452BD1ED}"/>
                  </a:ext>
                </a:extLst>
              </p:cNvPr>
              <p:cNvSpPr>
                <a:spLocks/>
              </p:cNvSpPr>
              <p:nvPr/>
            </p:nvSpPr>
            <p:spPr bwMode="auto">
              <a:xfrm>
                <a:off x="5513" y="2468"/>
                <a:ext cx="584" cy="410"/>
              </a:xfrm>
              <a:custGeom>
                <a:avLst/>
                <a:gdLst>
                  <a:gd name="T0" fmla="*/ 369 w 497"/>
                  <a:gd name="T1" fmla="*/ 7 h 348"/>
                  <a:gd name="T2" fmla="*/ 295 w 497"/>
                  <a:gd name="T3" fmla="*/ 14 h 348"/>
                  <a:gd name="T4" fmla="*/ 235 w 497"/>
                  <a:gd name="T5" fmla="*/ 26 h 348"/>
                  <a:gd name="T6" fmla="*/ 215 w 497"/>
                  <a:gd name="T7" fmla="*/ 0 h 348"/>
                  <a:gd name="T8" fmla="*/ 182 w 497"/>
                  <a:gd name="T9" fmla="*/ 21 h 348"/>
                  <a:gd name="T10" fmla="*/ 161 w 497"/>
                  <a:gd name="T11" fmla="*/ 7 h 348"/>
                  <a:gd name="T12" fmla="*/ 132 w 497"/>
                  <a:gd name="T13" fmla="*/ 9 h 348"/>
                  <a:gd name="T14" fmla="*/ 39 w 497"/>
                  <a:gd name="T15" fmla="*/ 36 h 348"/>
                  <a:gd name="T16" fmla="*/ 11 w 497"/>
                  <a:gd name="T17" fmla="*/ 60 h 348"/>
                  <a:gd name="T18" fmla="*/ 18 w 497"/>
                  <a:gd name="T19" fmla="*/ 109 h 348"/>
                  <a:gd name="T20" fmla="*/ 111 w 497"/>
                  <a:gd name="T21" fmla="*/ 174 h 348"/>
                  <a:gd name="T22" fmla="*/ 159 w 497"/>
                  <a:gd name="T23" fmla="*/ 212 h 348"/>
                  <a:gd name="T24" fmla="*/ 222 w 497"/>
                  <a:gd name="T25" fmla="*/ 283 h 348"/>
                  <a:gd name="T26" fmla="*/ 236 w 497"/>
                  <a:gd name="T27" fmla="*/ 301 h 348"/>
                  <a:gd name="T28" fmla="*/ 287 w 497"/>
                  <a:gd name="T29" fmla="*/ 342 h 348"/>
                  <a:gd name="T30" fmla="*/ 304 w 497"/>
                  <a:gd name="T31" fmla="*/ 348 h 348"/>
                  <a:gd name="T32" fmla="*/ 313 w 497"/>
                  <a:gd name="T33" fmla="*/ 346 h 348"/>
                  <a:gd name="T34" fmla="*/ 316 w 497"/>
                  <a:gd name="T35" fmla="*/ 344 h 348"/>
                  <a:gd name="T36" fmla="*/ 298 w 497"/>
                  <a:gd name="T37" fmla="*/ 324 h 348"/>
                  <a:gd name="T38" fmla="*/ 280 w 497"/>
                  <a:gd name="T39" fmla="*/ 306 h 348"/>
                  <a:gd name="T40" fmla="*/ 299 w 497"/>
                  <a:gd name="T41" fmla="*/ 303 h 348"/>
                  <a:gd name="T42" fmla="*/ 315 w 497"/>
                  <a:gd name="T43" fmla="*/ 317 h 348"/>
                  <a:gd name="T44" fmla="*/ 332 w 497"/>
                  <a:gd name="T45" fmla="*/ 319 h 348"/>
                  <a:gd name="T46" fmla="*/ 335 w 497"/>
                  <a:gd name="T47" fmla="*/ 313 h 348"/>
                  <a:gd name="T48" fmla="*/ 323 w 497"/>
                  <a:gd name="T49" fmla="*/ 285 h 348"/>
                  <a:gd name="T50" fmla="*/ 339 w 497"/>
                  <a:gd name="T51" fmla="*/ 282 h 348"/>
                  <a:gd name="T52" fmla="*/ 363 w 497"/>
                  <a:gd name="T53" fmla="*/ 278 h 348"/>
                  <a:gd name="T54" fmla="*/ 376 w 497"/>
                  <a:gd name="T55" fmla="*/ 271 h 348"/>
                  <a:gd name="T56" fmla="*/ 354 w 497"/>
                  <a:gd name="T57" fmla="*/ 259 h 348"/>
                  <a:gd name="T58" fmla="*/ 364 w 497"/>
                  <a:gd name="T59" fmla="*/ 239 h 348"/>
                  <a:gd name="T60" fmla="*/ 401 w 497"/>
                  <a:gd name="T61" fmla="*/ 231 h 348"/>
                  <a:gd name="T62" fmla="*/ 418 w 497"/>
                  <a:gd name="T63" fmla="*/ 222 h 348"/>
                  <a:gd name="T64" fmla="*/ 428 w 497"/>
                  <a:gd name="T65" fmla="*/ 222 h 348"/>
                  <a:gd name="T66" fmla="*/ 430 w 497"/>
                  <a:gd name="T67" fmla="*/ 212 h 348"/>
                  <a:gd name="T68" fmla="*/ 421 w 497"/>
                  <a:gd name="T69" fmla="*/ 190 h 348"/>
                  <a:gd name="T70" fmla="*/ 449 w 497"/>
                  <a:gd name="T71" fmla="*/ 168 h 348"/>
                  <a:gd name="T72" fmla="*/ 497 w 497"/>
                  <a:gd name="T73" fmla="*/ 68 h 348"/>
                  <a:gd name="T74" fmla="*/ 380 w 497"/>
                  <a:gd name="T75" fmla="*/ 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7" h="348">
                    <a:moveTo>
                      <a:pt x="380" y="12"/>
                    </a:moveTo>
                    <a:cubicBezTo>
                      <a:pt x="376" y="10"/>
                      <a:pt x="372" y="8"/>
                      <a:pt x="369" y="7"/>
                    </a:cubicBezTo>
                    <a:cubicBezTo>
                      <a:pt x="359" y="3"/>
                      <a:pt x="330" y="8"/>
                      <a:pt x="308" y="11"/>
                    </a:cubicBezTo>
                    <a:cubicBezTo>
                      <a:pt x="303" y="12"/>
                      <a:pt x="299" y="13"/>
                      <a:pt x="295" y="14"/>
                    </a:cubicBezTo>
                    <a:cubicBezTo>
                      <a:pt x="283" y="15"/>
                      <a:pt x="274" y="18"/>
                      <a:pt x="265" y="20"/>
                    </a:cubicBezTo>
                    <a:cubicBezTo>
                      <a:pt x="254" y="23"/>
                      <a:pt x="245" y="26"/>
                      <a:pt x="235" y="26"/>
                    </a:cubicBezTo>
                    <a:cubicBezTo>
                      <a:pt x="222" y="26"/>
                      <a:pt x="219" y="14"/>
                      <a:pt x="217" y="6"/>
                    </a:cubicBezTo>
                    <a:cubicBezTo>
                      <a:pt x="216" y="4"/>
                      <a:pt x="215" y="1"/>
                      <a:pt x="215" y="0"/>
                    </a:cubicBezTo>
                    <a:cubicBezTo>
                      <a:pt x="212" y="0"/>
                      <a:pt x="207" y="5"/>
                      <a:pt x="203" y="8"/>
                    </a:cubicBezTo>
                    <a:cubicBezTo>
                      <a:pt x="196" y="15"/>
                      <a:pt x="189" y="21"/>
                      <a:pt x="182" y="21"/>
                    </a:cubicBezTo>
                    <a:cubicBezTo>
                      <a:pt x="174" y="22"/>
                      <a:pt x="170" y="16"/>
                      <a:pt x="168" y="12"/>
                    </a:cubicBezTo>
                    <a:cubicBezTo>
                      <a:pt x="165" y="8"/>
                      <a:pt x="164" y="7"/>
                      <a:pt x="161" y="7"/>
                    </a:cubicBezTo>
                    <a:cubicBezTo>
                      <a:pt x="158" y="7"/>
                      <a:pt x="155" y="6"/>
                      <a:pt x="152" y="6"/>
                    </a:cubicBezTo>
                    <a:cubicBezTo>
                      <a:pt x="144" y="5"/>
                      <a:pt x="137" y="5"/>
                      <a:pt x="132" y="9"/>
                    </a:cubicBezTo>
                    <a:cubicBezTo>
                      <a:pt x="122" y="16"/>
                      <a:pt x="117" y="18"/>
                      <a:pt x="100" y="20"/>
                    </a:cubicBezTo>
                    <a:cubicBezTo>
                      <a:pt x="84" y="21"/>
                      <a:pt x="60" y="27"/>
                      <a:pt x="39" y="36"/>
                    </a:cubicBezTo>
                    <a:cubicBezTo>
                      <a:pt x="29" y="41"/>
                      <a:pt x="25" y="46"/>
                      <a:pt x="20" y="51"/>
                    </a:cubicBezTo>
                    <a:cubicBezTo>
                      <a:pt x="18" y="53"/>
                      <a:pt x="15" y="56"/>
                      <a:pt x="11" y="60"/>
                    </a:cubicBezTo>
                    <a:cubicBezTo>
                      <a:pt x="10" y="61"/>
                      <a:pt x="0" y="73"/>
                      <a:pt x="2" y="86"/>
                    </a:cubicBezTo>
                    <a:cubicBezTo>
                      <a:pt x="5" y="103"/>
                      <a:pt x="7" y="109"/>
                      <a:pt x="18" y="109"/>
                    </a:cubicBezTo>
                    <a:cubicBezTo>
                      <a:pt x="32" y="110"/>
                      <a:pt x="52" y="113"/>
                      <a:pt x="62" y="122"/>
                    </a:cubicBezTo>
                    <a:cubicBezTo>
                      <a:pt x="71" y="131"/>
                      <a:pt x="99" y="160"/>
                      <a:pt x="111" y="174"/>
                    </a:cubicBezTo>
                    <a:cubicBezTo>
                      <a:pt x="122" y="188"/>
                      <a:pt x="136" y="200"/>
                      <a:pt x="147" y="206"/>
                    </a:cubicBezTo>
                    <a:cubicBezTo>
                      <a:pt x="151" y="208"/>
                      <a:pt x="155" y="210"/>
                      <a:pt x="159" y="212"/>
                    </a:cubicBezTo>
                    <a:cubicBezTo>
                      <a:pt x="170" y="217"/>
                      <a:pt x="181" y="223"/>
                      <a:pt x="190" y="232"/>
                    </a:cubicBezTo>
                    <a:cubicBezTo>
                      <a:pt x="202" y="243"/>
                      <a:pt x="220" y="268"/>
                      <a:pt x="222" y="283"/>
                    </a:cubicBezTo>
                    <a:cubicBezTo>
                      <a:pt x="224" y="292"/>
                      <a:pt x="226" y="294"/>
                      <a:pt x="232" y="298"/>
                    </a:cubicBezTo>
                    <a:cubicBezTo>
                      <a:pt x="233" y="299"/>
                      <a:pt x="235" y="300"/>
                      <a:pt x="236" y="301"/>
                    </a:cubicBezTo>
                    <a:cubicBezTo>
                      <a:pt x="238" y="303"/>
                      <a:pt x="241" y="305"/>
                      <a:pt x="245" y="308"/>
                    </a:cubicBezTo>
                    <a:cubicBezTo>
                      <a:pt x="267" y="324"/>
                      <a:pt x="281" y="334"/>
                      <a:pt x="287" y="342"/>
                    </a:cubicBezTo>
                    <a:cubicBezTo>
                      <a:pt x="289" y="342"/>
                      <a:pt x="290" y="343"/>
                      <a:pt x="293" y="344"/>
                    </a:cubicBezTo>
                    <a:cubicBezTo>
                      <a:pt x="296" y="346"/>
                      <a:pt x="300" y="348"/>
                      <a:pt x="304" y="348"/>
                    </a:cubicBezTo>
                    <a:cubicBezTo>
                      <a:pt x="306" y="348"/>
                      <a:pt x="307" y="348"/>
                      <a:pt x="308" y="348"/>
                    </a:cubicBezTo>
                    <a:cubicBezTo>
                      <a:pt x="310" y="347"/>
                      <a:pt x="312" y="347"/>
                      <a:pt x="313" y="346"/>
                    </a:cubicBezTo>
                    <a:cubicBezTo>
                      <a:pt x="314" y="346"/>
                      <a:pt x="316" y="346"/>
                      <a:pt x="316" y="346"/>
                    </a:cubicBezTo>
                    <a:cubicBezTo>
                      <a:pt x="316" y="345"/>
                      <a:pt x="316" y="344"/>
                      <a:pt x="316" y="344"/>
                    </a:cubicBezTo>
                    <a:cubicBezTo>
                      <a:pt x="316" y="342"/>
                      <a:pt x="315" y="341"/>
                      <a:pt x="315" y="338"/>
                    </a:cubicBezTo>
                    <a:cubicBezTo>
                      <a:pt x="313" y="331"/>
                      <a:pt x="306" y="328"/>
                      <a:pt x="298" y="324"/>
                    </a:cubicBezTo>
                    <a:cubicBezTo>
                      <a:pt x="294" y="322"/>
                      <a:pt x="290" y="320"/>
                      <a:pt x="286" y="318"/>
                    </a:cubicBezTo>
                    <a:cubicBezTo>
                      <a:pt x="280" y="313"/>
                      <a:pt x="279" y="309"/>
                      <a:pt x="280" y="306"/>
                    </a:cubicBezTo>
                    <a:cubicBezTo>
                      <a:pt x="281" y="305"/>
                      <a:pt x="282" y="301"/>
                      <a:pt x="289" y="301"/>
                    </a:cubicBezTo>
                    <a:cubicBezTo>
                      <a:pt x="292" y="301"/>
                      <a:pt x="295" y="302"/>
                      <a:pt x="299" y="303"/>
                    </a:cubicBezTo>
                    <a:cubicBezTo>
                      <a:pt x="301" y="304"/>
                      <a:pt x="303" y="305"/>
                      <a:pt x="304" y="306"/>
                    </a:cubicBezTo>
                    <a:cubicBezTo>
                      <a:pt x="311" y="308"/>
                      <a:pt x="313" y="309"/>
                      <a:pt x="315" y="317"/>
                    </a:cubicBezTo>
                    <a:cubicBezTo>
                      <a:pt x="316" y="321"/>
                      <a:pt x="320" y="321"/>
                      <a:pt x="322" y="321"/>
                    </a:cubicBezTo>
                    <a:cubicBezTo>
                      <a:pt x="325" y="321"/>
                      <a:pt x="328" y="320"/>
                      <a:pt x="332" y="319"/>
                    </a:cubicBezTo>
                    <a:cubicBezTo>
                      <a:pt x="334" y="318"/>
                      <a:pt x="336" y="316"/>
                      <a:pt x="336" y="315"/>
                    </a:cubicBezTo>
                    <a:cubicBezTo>
                      <a:pt x="336" y="315"/>
                      <a:pt x="336" y="314"/>
                      <a:pt x="335" y="313"/>
                    </a:cubicBezTo>
                    <a:cubicBezTo>
                      <a:pt x="326" y="312"/>
                      <a:pt x="322" y="308"/>
                      <a:pt x="320" y="304"/>
                    </a:cubicBezTo>
                    <a:cubicBezTo>
                      <a:pt x="317" y="297"/>
                      <a:pt x="319" y="290"/>
                      <a:pt x="323" y="285"/>
                    </a:cubicBezTo>
                    <a:cubicBezTo>
                      <a:pt x="324" y="282"/>
                      <a:pt x="327" y="280"/>
                      <a:pt x="331" y="280"/>
                    </a:cubicBezTo>
                    <a:cubicBezTo>
                      <a:pt x="333" y="280"/>
                      <a:pt x="336" y="281"/>
                      <a:pt x="339" y="282"/>
                    </a:cubicBezTo>
                    <a:cubicBezTo>
                      <a:pt x="343" y="282"/>
                      <a:pt x="347" y="283"/>
                      <a:pt x="352" y="283"/>
                    </a:cubicBezTo>
                    <a:cubicBezTo>
                      <a:pt x="358" y="282"/>
                      <a:pt x="360" y="281"/>
                      <a:pt x="363" y="278"/>
                    </a:cubicBezTo>
                    <a:cubicBezTo>
                      <a:pt x="366" y="276"/>
                      <a:pt x="369" y="274"/>
                      <a:pt x="375" y="271"/>
                    </a:cubicBezTo>
                    <a:cubicBezTo>
                      <a:pt x="375" y="271"/>
                      <a:pt x="376" y="271"/>
                      <a:pt x="376" y="271"/>
                    </a:cubicBezTo>
                    <a:cubicBezTo>
                      <a:pt x="372" y="270"/>
                      <a:pt x="366" y="268"/>
                      <a:pt x="364" y="268"/>
                    </a:cubicBezTo>
                    <a:cubicBezTo>
                      <a:pt x="359" y="266"/>
                      <a:pt x="356" y="263"/>
                      <a:pt x="354" y="259"/>
                    </a:cubicBezTo>
                    <a:cubicBezTo>
                      <a:pt x="352" y="255"/>
                      <a:pt x="353" y="250"/>
                      <a:pt x="356" y="244"/>
                    </a:cubicBezTo>
                    <a:cubicBezTo>
                      <a:pt x="358" y="241"/>
                      <a:pt x="361" y="239"/>
                      <a:pt x="364" y="239"/>
                    </a:cubicBezTo>
                    <a:cubicBezTo>
                      <a:pt x="371" y="239"/>
                      <a:pt x="378" y="246"/>
                      <a:pt x="381" y="251"/>
                    </a:cubicBezTo>
                    <a:cubicBezTo>
                      <a:pt x="383" y="250"/>
                      <a:pt x="388" y="247"/>
                      <a:pt x="401" y="231"/>
                    </a:cubicBezTo>
                    <a:cubicBezTo>
                      <a:pt x="407" y="224"/>
                      <a:pt x="410" y="221"/>
                      <a:pt x="414" y="221"/>
                    </a:cubicBezTo>
                    <a:cubicBezTo>
                      <a:pt x="416" y="221"/>
                      <a:pt x="417" y="221"/>
                      <a:pt x="418" y="222"/>
                    </a:cubicBezTo>
                    <a:cubicBezTo>
                      <a:pt x="419" y="222"/>
                      <a:pt x="421" y="223"/>
                      <a:pt x="424" y="223"/>
                    </a:cubicBezTo>
                    <a:cubicBezTo>
                      <a:pt x="428" y="223"/>
                      <a:pt x="428" y="222"/>
                      <a:pt x="428" y="222"/>
                    </a:cubicBezTo>
                    <a:cubicBezTo>
                      <a:pt x="428" y="222"/>
                      <a:pt x="428" y="220"/>
                      <a:pt x="429" y="219"/>
                    </a:cubicBezTo>
                    <a:cubicBezTo>
                      <a:pt x="429" y="217"/>
                      <a:pt x="429" y="215"/>
                      <a:pt x="430" y="212"/>
                    </a:cubicBezTo>
                    <a:cubicBezTo>
                      <a:pt x="431" y="205"/>
                      <a:pt x="428" y="199"/>
                      <a:pt x="424" y="197"/>
                    </a:cubicBezTo>
                    <a:cubicBezTo>
                      <a:pt x="421" y="195"/>
                      <a:pt x="421" y="192"/>
                      <a:pt x="421" y="190"/>
                    </a:cubicBezTo>
                    <a:cubicBezTo>
                      <a:pt x="423" y="183"/>
                      <a:pt x="436" y="180"/>
                      <a:pt x="443" y="180"/>
                    </a:cubicBezTo>
                    <a:cubicBezTo>
                      <a:pt x="447" y="180"/>
                      <a:pt x="449" y="180"/>
                      <a:pt x="449" y="168"/>
                    </a:cubicBezTo>
                    <a:cubicBezTo>
                      <a:pt x="448" y="139"/>
                      <a:pt x="478" y="97"/>
                      <a:pt x="492" y="76"/>
                    </a:cubicBezTo>
                    <a:cubicBezTo>
                      <a:pt x="494" y="73"/>
                      <a:pt x="496" y="70"/>
                      <a:pt x="497" y="68"/>
                    </a:cubicBezTo>
                    <a:cubicBezTo>
                      <a:pt x="482" y="61"/>
                      <a:pt x="430" y="37"/>
                      <a:pt x="419" y="30"/>
                    </a:cubicBezTo>
                    <a:cubicBezTo>
                      <a:pt x="411" y="24"/>
                      <a:pt x="393" y="17"/>
                      <a:pt x="380" y="12"/>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8">
                <a:extLst>
                  <a:ext uri="{FF2B5EF4-FFF2-40B4-BE49-F238E27FC236}">
                    <a16:creationId xmlns:a16="http://schemas.microsoft.com/office/drawing/2014/main" id="{7BC9AC76-61B7-4B65-9478-1E2B9CCBD4ED}"/>
                  </a:ext>
                </a:extLst>
              </p:cNvPr>
              <p:cNvSpPr>
                <a:spLocks/>
              </p:cNvSpPr>
              <p:nvPr/>
            </p:nvSpPr>
            <p:spPr bwMode="auto">
              <a:xfrm>
                <a:off x="5684" y="823"/>
                <a:ext cx="660" cy="608"/>
              </a:xfrm>
              <a:custGeom>
                <a:avLst/>
                <a:gdLst>
                  <a:gd name="T0" fmla="*/ 383 w 561"/>
                  <a:gd name="T1" fmla="*/ 14 h 517"/>
                  <a:gd name="T2" fmla="*/ 243 w 561"/>
                  <a:gd name="T3" fmla="*/ 124 h 517"/>
                  <a:gd name="T4" fmla="*/ 205 w 561"/>
                  <a:gd name="T5" fmla="*/ 175 h 517"/>
                  <a:gd name="T6" fmla="*/ 189 w 561"/>
                  <a:gd name="T7" fmla="*/ 192 h 517"/>
                  <a:gd name="T8" fmla="*/ 211 w 561"/>
                  <a:gd name="T9" fmla="*/ 200 h 517"/>
                  <a:gd name="T10" fmla="*/ 220 w 561"/>
                  <a:gd name="T11" fmla="*/ 228 h 517"/>
                  <a:gd name="T12" fmla="*/ 222 w 561"/>
                  <a:gd name="T13" fmla="*/ 278 h 517"/>
                  <a:gd name="T14" fmla="*/ 130 w 561"/>
                  <a:gd name="T15" fmla="*/ 329 h 517"/>
                  <a:gd name="T16" fmla="*/ 28 w 561"/>
                  <a:gd name="T17" fmla="*/ 350 h 517"/>
                  <a:gd name="T18" fmla="*/ 3 w 561"/>
                  <a:gd name="T19" fmla="*/ 366 h 517"/>
                  <a:gd name="T20" fmla="*/ 7 w 561"/>
                  <a:gd name="T21" fmla="*/ 389 h 517"/>
                  <a:gd name="T22" fmla="*/ 41 w 561"/>
                  <a:gd name="T23" fmla="*/ 412 h 517"/>
                  <a:gd name="T24" fmla="*/ 6 w 561"/>
                  <a:gd name="T25" fmla="*/ 516 h 517"/>
                  <a:gd name="T26" fmla="*/ 157 w 561"/>
                  <a:gd name="T27" fmla="*/ 475 h 517"/>
                  <a:gd name="T28" fmla="*/ 307 w 561"/>
                  <a:gd name="T29" fmla="*/ 435 h 517"/>
                  <a:gd name="T30" fmla="*/ 372 w 561"/>
                  <a:gd name="T31" fmla="*/ 419 h 517"/>
                  <a:gd name="T32" fmla="*/ 424 w 561"/>
                  <a:gd name="T33" fmla="*/ 457 h 517"/>
                  <a:gd name="T34" fmla="*/ 452 w 561"/>
                  <a:gd name="T35" fmla="*/ 474 h 517"/>
                  <a:gd name="T36" fmla="*/ 443 w 561"/>
                  <a:gd name="T37" fmla="*/ 486 h 517"/>
                  <a:gd name="T38" fmla="*/ 446 w 561"/>
                  <a:gd name="T39" fmla="*/ 491 h 517"/>
                  <a:gd name="T40" fmla="*/ 469 w 561"/>
                  <a:gd name="T41" fmla="*/ 498 h 517"/>
                  <a:gd name="T42" fmla="*/ 493 w 561"/>
                  <a:gd name="T43" fmla="*/ 503 h 517"/>
                  <a:gd name="T44" fmla="*/ 551 w 561"/>
                  <a:gd name="T45" fmla="*/ 504 h 517"/>
                  <a:gd name="T46" fmla="*/ 561 w 561"/>
                  <a:gd name="T47" fmla="*/ 495 h 517"/>
                  <a:gd name="T48" fmla="*/ 544 w 561"/>
                  <a:gd name="T49" fmla="*/ 464 h 517"/>
                  <a:gd name="T50" fmla="*/ 548 w 561"/>
                  <a:gd name="T51" fmla="*/ 449 h 517"/>
                  <a:gd name="T52" fmla="*/ 539 w 561"/>
                  <a:gd name="T53" fmla="*/ 443 h 517"/>
                  <a:gd name="T54" fmla="*/ 528 w 561"/>
                  <a:gd name="T55" fmla="*/ 410 h 517"/>
                  <a:gd name="T56" fmla="*/ 521 w 561"/>
                  <a:gd name="T57" fmla="*/ 396 h 517"/>
                  <a:gd name="T58" fmla="*/ 521 w 561"/>
                  <a:gd name="T59" fmla="*/ 376 h 517"/>
                  <a:gd name="T60" fmla="*/ 515 w 561"/>
                  <a:gd name="T61" fmla="*/ 296 h 517"/>
                  <a:gd name="T62" fmla="*/ 505 w 561"/>
                  <a:gd name="T63" fmla="*/ 232 h 517"/>
                  <a:gd name="T64" fmla="*/ 499 w 561"/>
                  <a:gd name="T65" fmla="*/ 195 h 517"/>
                  <a:gd name="T66" fmla="*/ 475 w 561"/>
                  <a:gd name="T67" fmla="*/ 181 h 517"/>
                  <a:gd name="T68" fmla="*/ 451 w 561"/>
                  <a:gd name="T69" fmla="*/ 100 h 517"/>
                  <a:gd name="T70" fmla="*/ 439 w 561"/>
                  <a:gd name="T71" fmla="*/ 86 h 517"/>
                  <a:gd name="T72" fmla="*/ 424 w 561"/>
                  <a:gd name="T73"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1" h="517">
                    <a:moveTo>
                      <a:pt x="424" y="0"/>
                    </a:moveTo>
                    <a:cubicBezTo>
                      <a:pt x="408" y="6"/>
                      <a:pt x="393" y="11"/>
                      <a:pt x="383" y="14"/>
                    </a:cubicBezTo>
                    <a:cubicBezTo>
                      <a:pt x="352" y="24"/>
                      <a:pt x="288" y="49"/>
                      <a:pt x="277" y="59"/>
                    </a:cubicBezTo>
                    <a:cubicBezTo>
                      <a:pt x="270" y="66"/>
                      <a:pt x="255" y="99"/>
                      <a:pt x="243" y="124"/>
                    </a:cubicBezTo>
                    <a:cubicBezTo>
                      <a:pt x="237" y="137"/>
                      <a:pt x="232" y="148"/>
                      <a:pt x="229" y="153"/>
                    </a:cubicBezTo>
                    <a:cubicBezTo>
                      <a:pt x="224" y="162"/>
                      <a:pt x="214" y="169"/>
                      <a:pt x="205" y="175"/>
                    </a:cubicBezTo>
                    <a:cubicBezTo>
                      <a:pt x="199" y="180"/>
                      <a:pt x="192" y="185"/>
                      <a:pt x="190" y="189"/>
                    </a:cubicBezTo>
                    <a:cubicBezTo>
                      <a:pt x="189" y="190"/>
                      <a:pt x="189" y="191"/>
                      <a:pt x="189" y="192"/>
                    </a:cubicBezTo>
                    <a:cubicBezTo>
                      <a:pt x="190" y="193"/>
                      <a:pt x="194" y="195"/>
                      <a:pt x="203" y="195"/>
                    </a:cubicBezTo>
                    <a:cubicBezTo>
                      <a:pt x="207" y="195"/>
                      <a:pt x="210" y="197"/>
                      <a:pt x="211" y="200"/>
                    </a:cubicBezTo>
                    <a:cubicBezTo>
                      <a:pt x="213" y="205"/>
                      <a:pt x="210" y="213"/>
                      <a:pt x="207" y="216"/>
                    </a:cubicBezTo>
                    <a:cubicBezTo>
                      <a:pt x="208" y="218"/>
                      <a:pt x="210" y="221"/>
                      <a:pt x="220" y="228"/>
                    </a:cubicBezTo>
                    <a:cubicBezTo>
                      <a:pt x="231" y="236"/>
                      <a:pt x="230" y="258"/>
                      <a:pt x="229" y="265"/>
                    </a:cubicBezTo>
                    <a:cubicBezTo>
                      <a:pt x="228" y="272"/>
                      <a:pt x="225" y="275"/>
                      <a:pt x="222" y="278"/>
                    </a:cubicBezTo>
                    <a:cubicBezTo>
                      <a:pt x="219" y="280"/>
                      <a:pt x="218" y="282"/>
                      <a:pt x="216" y="285"/>
                    </a:cubicBezTo>
                    <a:cubicBezTo>
                      <a:pt x="203" y="317"/>
                      <a:pt x="171" y="333"/>
                      <a:pt x="130" y="329"/>
                    </a:cubicBezTo>
                    <a:cubicBezTo>
                      <a:pt x="125" y="328"/>
                      <a:pt x="121" y="328"/>
                      <a:pt x="116" y="328"/>
                    </a:cubicBezTo>
                    <a:cubicBezTo>
                      <a:pt x="83" y="328"/>
                      <a:pt x="53" y="340"/>
                      <a:pt x="28" y="350"/>
                    </a:cubicBezTo>
                    <a:cubicBezTo>
                      <a:pt x="25" y="351"/>
                      <a:pt x="22" y="352"/>
                      <a:pt x="19" y="353"/>
                    </a:cubicBezTo>
                    <a:cubicBezTo>
                      <a:pt x="10" y="357"/>
                      <a:pt x="5" y="361"/>
                      <a:pt x="3" y="366"/>
                    </a:cubicBezTo>
                    <a:cubicBezTo>
                      <a:pt x="0" y="372"/>
                      <a:pt x="3" y="378"/>
                      <a:pt x="5" y="385"/>
                    </a:cubicBezTo>
                    <a:cubicBezTo>
                      <a:pt x="6" y="386"/>
                      <a:pt x="6" y="388"/>
                      <a:pt x="7" y="389"/>
                    </a:cubicBezTo>
                    <a:cubicBezTo>
                      <a:pt x="8" y="392"/>
                      <a:pt x="11" y="393"/>
                      <a:pt x="17" y="395"/>
                    </a:cubicBezTo>
                    <a:cubicBezTo>
                      <a:pt x="24" y="397"/>
                      <a:pt x="33" y="400"/>
                      <a:pt x="41" y="412"/>
                    </a:cubicBezTo>
                    <a:cubicBezTo>
                      <a:pt x="53" y="430"/>
                      <a:pt x="27" y="464"/>
                      <a:pt x="3" y="489"/>
                    </a:cubicBezTo>
                    <a:cubicBezTo>
                      <a:pt x="2" y="494"/>
                      <a:pt x="4" y="512"/>
                      <a:pt x="6" y="516"/>
                    </a:cubicBezTo>
                    <a:cubicBezTo>
                      <a:pt x="14" y="517"/>
                      <a:pt x="57" y="505"/>
                      <a:pt x="67" y="501"/>
                    </a:cubicBezTo>
                    <a:cubicBezTo>
                      <a:pt x="72" y="498"/>
                      <a:pt x="106" y="489"/>
                      <a:pt x="157" y="475"/>
                    </a:cubicBezTo>
                    <a:cubicBezTo>
                      <a:pt x="194" y="465"/>
                      <a:pt x="237" y="453"/>
                      <a:pt x="241" y="451"/>
                    </a:cubicBezTo>
                    <a:cubicBezTo>
                      <a:pt x="249" y="447"/>
                      <a:pt x="306" y="435"/>
                      <a:pt x="307" y="435"/>
                    </a:cubicBezTo>
                    <a:cubicBezTo>
                      <a:pt x="308" y="435"/>
                      <a:pt x="311" y="434"/>
                      <a:pt x="315" y="433"/>
                    </a:cubicBezTo>
                    <a:cubicBezTo>
                      <a:pt x="339" y="426"/>
                      <a:pt x="363" y="419"/>
                      <a:pt x="372" y="419"/>
                    </a:cubicBezTo>
                    <a:cubicBezTo>
                      <a:pt x="387" y="419"/>
                      <a:pt x="409" y="435"/>
                      <a:pt x="409" y="443"/>
                    </a:cubicBezTo>
                    <a:cubicBezTo>
                      <a:pt x="410" y="446"/>
                      <a:pt x="421" y="456"/>
                      <a:pt x="424" y="457"/>
                    </a:cubicBezTo>
                    <a:cubicBezTo>
                      <a:pt x="426" y="457"/>
                      <a:pt x="444" y="457"/>
                      <a:pt x="450" y="465"/>
                    </a:cubicBezTo>
                    <a:cubicBezTo>
                      <a:pt x="452" y="469"/>
                      <a:pt x="452" y="472"/>
                      <a:pt x="452" y="474"/>
                    </a:cubicBezTo>
                    <a:cubicBezTo>
                      <a:pt x="451" y="477"/>
                      <a:pt x="448" y="481"/>
                      <a:pt x="443" y="483"/>
                    </a:cubicBezTo>
                    <a:cubicBezTo>
                      <a:pt x="443" y="483"/>
                      <a:pt x="443" y="485"/>
                      <a:pt x="443" y="486"/>
                    </a:cubicBezTo>
                    <a:cubicBezTo>
                      <a:pt x="443" y="487"/>
                      <a:pt x="443" y="489"/>
                      <a:pt x="443" y="490"/>
                    </a:cubicBezTo>
                    <a:cubicBezTo>
                      <a:pt x="444" y="490"/>
                      <a:pt x="445" y="491"/>
                      <a:pt x="446" y="491"/>
                    </a:cubicBezTo>
                    <a:cubicBezTo>
                      <a:pt x="449" y="492"/>
                      <a:pt x="452" y="494"/>
                      <a:pt x="453" y="496"/>
                    </a:cubicBezTo>
                    <a:cubicBezTo>
                      <a:pt x="455" y="497"/>
                      <a:pt x="464" y="498"/>
                      <a:pt x="469" y="498"/>
                    </a:cubicBezTo>
                    <a:cubicBezTo>
                      <a:pt x="474" y="499"/>
                      <a:pt x="479" y="500"/>
                      <a:pt x="482" y="500"/>
                    </a:cubicBezTo>
                    <a:cubicBezTo>
                      <a:pt x="485" y="501"/>
                      <a:pt x="488" y="502"/>
                      <a:pt x="493" y="503"/>
                    </a:cubicBezTo>
                    <a:cubicBezTo>
                      <a:pt x="499" y="504"/>
                      <a:pt x="508" y="506"/>
                      <a:pt x="521" y="509"/>
                    </a:cubicBezTo>
                    <a:cubicBezTo>
                      <a:pt x="537" y="513"/>
                      <a:pt x="545" y="508"/>
                      <a:pt x="551" y="504"/>
                    </a:cubicBezTo>
                    <a:cubicBezTo>
                      <a:pt x="553" y="502"/>
                      <a:pt x="554" y="501"/>
                      <a:pt x="556" y="501"/>
                    </a:cubicBezTo>
                    <a:cubicBezTo>
                      <a:pt x="558" y="500"/>
                      <a:pt x="560" y="497"/>
                      <a:pt x="561" y="495"/>
                    </a:cubicBezTo>
                    <a:cubicBezTo>
                      <a:pt x="553" y="491"/>
                      <a:pt x="541" y="485"/>
                      <a:pt x="539" y="479"/>
                    </a:cubicBezTo>
                    <a:cubicBezTo>
                      <a:pt x="537" y="474"/>
                      <a:pt x="541" y="469"/>
                      <a:pt x="544" y="464"/>
                    </a:cubicBezTo>
                    <a:cubicBezTo>
                      <a:pt x="547" y="461"/>
                      <a:pt x="549" y="457"/>
                      <a:pt x="550" y="454"/>
                    </a:cubicBezTo>
                    <a:cubicBezTo>
                      <a:pt x="550" y="453"/>
                      <a:pt x="549" y="451"/>
                      <a:pt x="548" y="449"/>
                    </a:cubicBezTo>
                    <a:cubicBezTo>
                      <a:pt x="545" y="445"/>
                      <a:pt x="540" y="443"/>
                      <a:pt x="539" y="443"/>
                    </a:cubicBezTo>
                    <a:cubicBezTo>
                      <a:pt x="539" y="443"/>
                      <a:pt x="539" y="443"/>
                      <a:pt x="539" y="443"/>
                    </a:cubicBezTo>
                    <a:cubicBezTo>
                      <a:pt x="533" y="443"/>
                      <a:pt x="531" y="436"/>
                      <a:pt x="531" y="423"/>
                    </a:cubicBezTo>
                    <a:cubicBezTo>
                      <a:pt x="531" y="420"/>
                      <a:pt x="529" y="411"/>
                      <a:pt x="528" y="410"/>
                    </a:cubicBezTo>
                    <a:cubicBezTo>
                      <a:pt x="528" y="409"/>
                      <a:pt x="527" y="408"/>
                      <a:pt x="526" y="406"/>
                    </a:cubicBezTo>
                    <a:cubicBezTo>
                      <a:pt x="523" y="402"/>
                      <a:pt x="521" y="399"/>
                      <a:pt x="521" y="396"/>
                    </a:cubicBezTo>
                    <a:cubicBezTo>
                      <a:pt x="520" y="395"/>
                      <a:pt x="521" y="392"/>
                      <a:pt x="521" y="386"/>
                    </a:cubicBezTo>
                    <a:cubicBezTo>
                      <a:pt x="521" y="383"/>
                      <a:pt x="521" y="378"/>
                      <a:pt x="521" y="376"/>
                    </a:cubicBezTo>
                    <a:cubicBezTo>
                      <a:pt x="519" y="373"/>
                      <a:pt x="513" y="363"/>
                      <a:pt x="514" y="354"/>
                    </a:cubicBezTo>
                    <a:cubicBezTo>
                      <a:pt x="516" y="344"/>
                      <a:pt x="516" y="301"/>
                      <a:pt x="515" y="296"/>
                    </a:cubicBezTo>
                    <a:cubicBezTo>
                      <a:pt x="513" y="289"/>
                      <a:pt x="511" y="260"/>
                      <a:pt x="511" y="256"/>
                    </a:cubicBezTo>
                    <a:cubicBezTo>
                      <a:pt x="508" y="248"/>
                      <a:pt x="506" y="238"/>
                      <a:pt x="505" y="232"/>
                    </a:cubicBezTo>
                    <a:cubicBezTo>
                      <a:pt x="505" y="229"/>
                      <a:pt x="505" y="226"/>
                      <a:pt x="505" y="223"/>
                    </a:cubicBezTo>
                    <a:cubicBezTo>
                      <a:pt x="504" y="215"/>
                      <a:pt x="503" y="198"/>
                      <a:pt x="499" y="195"/>
                    </a:cubicBezTo>
                    <a:cubicBezTo>
                      <a:pt x="497" y="194"/>
                      <a:pt x="494" y="193"/>
                      <a:pt x="491" y="192"/>
                    </a:cubicBezTo>
                    <a:cubicBezTo>
                      <a:pt x="485" y="190"/>
                      <a:pt x="477" y="188"/>
                      <a:pt x="475" y="181"/>
                    </a:cubicBezTo>
                    <a:cubicBezTo>
                      <a:pt x="469" y="161"/>
                      <a:pt x="465" y="149"/>
                      <a:pt x="462" y="144"/>
                    </a:cubicBezTo>
                    <a:cubicBezTo>
                      <a:pt x="457" y="136"/>
                      <a:pt x="451" y="108"/>
                      <a:pt x="451" y="100"/>
                    </a:cubicBezTo>
                    <a:cubicBezTo>
                      <a:pt x="451" y="96"/>
                      <a:pt x="446" y="92"/>
                      <a:pt x="441" y="87"/>
                    </a:cubicBezTo>
                    <a:cubicBezTo>
                      <a:pt x="439" y="86"/>
                      <a:pt x="439" y="86"/>
                      <a:pt x="439" y="86"/>
                    </a:cubicBezTo>
                    <a:cubicBezTo>
                      <a:pt x="434" y="82"/>
                      <a:pt x="424" y="74"/>
                      <a:pt x="424" y="63"/>
                    </a:cubicBezTo>
                    <a:lnTo>
                      <a:pt x="424" y="0"/>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0">
                <a:extLst>
                  <a:ext uri="{FF2B5EF4-FFF2-40B4-BE49-F238E27FC236}">
                    <a16:creationId xmlns:a16="http://schemas.microsoft.com/office/drawing/2014/main" id="{123FAFBF-6FB0-4FB4-B461-5B1E01098FA4}"/>
                  </a:ext>
                </a:extLst>
              </p:cNvPr>
              <p:cNvSpPr>
                <a:spLocks/>
              </p:cNvSpPr>
              <p:nvPr/>
            </p:nvSpPr>
            <p:spPr bwMode="auto">
              <a:xfrm>
                <a:off x="6324" y="727"/>
                <a:ext cx="193" cy="387"/>
              </a:xfrm>
              <a:custGeom>
                <a:avLst/>
                <a:gdLst>
                  <a:gd name="T0" fmla="*/ 12 w 164"/>
                  <a:gd name="T1" fmla="*/ 77 h 329"/>
                  <a:gd name="T2" fmla="*/ 24 w 164"/>
                  <a:gd name="T3" fmla="*/ 100 h 329"/>
                  <a:gd name="T4" fmla="*/ 12 w 164"/>
                  <a:gd name="T5" fmla="*/ 119 h 329"/>
                  <a:gd name="T6" fmla="*/ 0 w 164"/>
                  <a:gd name="T7" fmla="*/ 140 h 329"/>
                  <a:gd name="T8" fmla="*/ 3 w 164"/>
                  <a:gd name="T9" fmla="*/ 159 h 329"/>
                  <a:gd name="T10" fmla="*/ 6 w 164"/>
                  <a:gd name="T11" fmla="*/ 177 h 329"/>
                  <a:gd name="T12" fmla="*/ 6 w 164"/>
                  <a:gd name="T13" fmla="*/ 183 h 329"/>
                  <a:gd name="T14" fmla="*/ 4 w 164"/>
                  <a:gd name="T15" fmla="*/ 221 h 329"/>
                  <a:gd name="T16" fmla="*/ 5 w 164"/>
                  <a:gd name="T17" fmla="*/ 248 h 329"/>
                  <a:gd name="T18" fmla="*/ 6 w 164"/>
                  <a:gd name="T19" fmla="*/ 253 h 329"/>
                  <a:gd name="T20" fmla="*/ 9 w 164"/>
                  <a:gd name="T21" fmla="*/ 261 h 329"/>
                  <a:gd name="T22" fmla="*/ 12 w 164"/>
                  <a:gd name="T23" fmla="*/ 271 h 329"/>
                  <a:gd name="T24" fmla="*/ 11 w 164"/>
                  <a:gd name="T25" fmla="*/ 276 h 329"/>
                  <a:gd name="T26" fmla="*/ 11 w 164"/>
                  <a:gd name="T27" fmla="*/ 289 h 329"/>
                  <a:gd name="T28" fmla="*/ 21 w 164"/>
                  <a:gd name="T29" fmla="*/ 313 h 329"/>
                  <a:gd name="T30" fmla="*/ 24 w 164"/>
                  <a:gd name="T31" fmla="*/ 329 h 329"/>
                  <a:gd name="T32" fmla="*/ 71 w 164"/>
                  <a:gd name="T33" fmla="*/ 313 h 329"/>
                  <a:gd name="T34" fmla="*/ 95 w 164"/>
                  <a:gd name="T35" fmla="*/ 303 h 329"/>
                  <a:gd name="T36" fmla="*/ 103 w 164"/>
                  <a:gd name="T37" fmla="*/ 300 h 329"/>
                  <a:gd name="T38" fmla="*/ 109 w 164"/>
                  <a:gd name="T39" fmla="*/ 298 h 329"/>
                  <a:gd name="T40" fmla="*/ 126 w 164"/>
                  <a:gd name="T41" fmla="*/ 290 h 329"/>
                  <a:gd name="T42" fmla="*/ 143 w 164"/>
                  <a:gd name="T43" fmla="*/ 275 h 329"/>
                  <a:gd name="T44" fmla="*/ 162 w 164"/>
                  <a:gd name="T45" fmla="*/ 274 h 329"/>
                  <a:gd name="T46" fmla="*/ 163 w 164"/>
                  <a:gd name="T47" fmla="*/ 262 h 329"/>
                  <a:gd name="T48" fmla="*/ 164 w 164"/>
                  <a:gd name="T49" fmla="*/ 259 h 329"/>
                  <a:gd name="T50" fmla="*/ 161 w 164"/>
                  <a:gd name="T51" fmla="*/ 254 h 329"/>
                  <a:gd name="T52" fmla="*/ 156 w 164"/>
                  <a:gd name="T53" fmla="*/ 250 h 329"/>
                  <a:gd name="T54" fmla="*/ 147 w 164"/>
                  <a:gd name="T55" fmla="*/ 243 h 329"/>
                  <a:gd name="T56" fmla="*/ 147 w 164"/>
                  <a:gd name="T57" fmla="*/ 243 h 329"/>
                  <a:gd name="T58" fmla="*/ 141 w 164"/>
                  <a:gd name="T59" fmla="*/ 238 h 329"/>
                  <a:gd name="T60" fmla="*/ 142 w 164"/>
                  <a:gd name="T61" fmla="*/ 225 h 329"/>
                  <a:gd name="T62" fmla="*/ 140 w 164"/>
                  <a:gd name="T63" fmla="*/ 220 h 329"/>
                  <a:gd name="T64" fmla="*/ 136 w 164"/>
                  <a:gd name="T65" fmla="*/ 206 h 329"/>
                  <a:gd name="T66" fmla="*/ 53 w 164"/>
                  <a:gd name="T67" fmla="*/ 0 h 329"/>
                  <a:gd name="T68" fmla="*/ 51 w 164"/>
                  <a:gd name="T69" fmla="*/ 1 h 329"/>
                  <a:gd name="T70" fmla="*/ 47 w 164"/>
                  <a:gd name="T71" fmla="*/ 0 h 329"/>
                  <a:gd name="T72" fmla="*/ 44 w 164"/>
                  <a:gd name="T73" fmla="*/ 0 h 329"/>
                  <a:gd name="T74" fmla="*/ 16 w 164"/>
                  <a:gd name="T75" fmla="*/ 16 h 329"/>
                  <a:gd name="T76" fmla="*/ 8 w 164"/>
                  <a:gd name="T77" fmla="*/ 28 h 329"/>
                  <a:gd name="T78" fmla="*/ 7 w 164"/>
                  <a:gd name="T79" fmla="*/ 45 h 329"/>
                  <a:gd name="T80" fmla="*/ 7 w 164"/>
                  <a:gd name="T81" fmla="*/ 71 h 329"/>
                  <a:gd name="T82" fmla="*/ 12 w 164"/>
                  <a:gd name="T83" fmla="*/ 7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 h="329">
                    <a:moveTo>
                      <a:pt x="12" y="77"/>
                    </a:moveTo>
                    <a:cubicBezTo>
                      <a:pt x="19" y="83"/>
                      <a:pt x="27" y="91"/>
                      <a:pt x="24" y="100"/>
                    </a:cubicBezTo>
                    <a:cubicBezTo>
                      <a:pt x="22" y="105"/>
                      <a:pt x="17" y="112"/>
                      <a:pt x="12" y="119"/>
                    </a:cubicBezTo>
                    <a:cubicBezTo>
                      <a:pt x="7" y="126"/>
                      <a:pt x="0" y="137"/>
                      <a:pt x="0" y="140"/>
                    </a:cubicBezTo>
                    <a:cubicBezTo>
                      <a:pt x="0" y="144"/>
                      <a:pt x="1" y="152"/>
                      <a:pt x="3" y="159"/>
                    </a:cubicBezTo>
                    <a:cubicBezTo>
                      <a:pt x="5" y="166"/>
                      <a:pt x="6" y="173"/>
                      <a:pt x="6" y="177"/>
                    </a:cubicBezTo>
                    <a:cubicBezTo>
                      <a:pt x="6" y="178"/>
                      <a:pt x="6" y="180"/>
                      <a:pt x="6" y="183"/>
                    </a:cubicBezTo>
                    <a:cubicBezTo>
                      <a:pt x="7" y="193"/>
                      <a:pt x="8" y="211"/>
                      <a:pt x="4" y="221"/>
                    </a:cubicBezTo>
                    <a:cubicBezTo>
                      <a:pt x="0" y="231"/>
                      <a:pt x="3" y="241"/>
                      <a:pt x="5" y="248"/>
                    </a:cubicBezTo>
                    <a:cubicBezTo>
                      <a:pt x="5" y="250"/>
                      <a:pt x="6" y="251"/>
                      <a:pt x="6" y="253"/>
                    </a:cubicBezTo>
                    <a:cubicBezTo>
                      <a:pt x="7" y="256"/>
                      <a:pt x="8" y="259"/>
                      <a:pt x="9" y="261"/>
                    </a:cubicBezTo>
                    <a:cubicBezTo>
                      <a:pt x="11" y="265"/>
                      <a:pt x="12" y="268"/>
                      <a:pt x="12" y="271"/>
                    </a:cubicBezTo>
                    <a:cubicBezTo>
                      <a:pt x="12" y="272"/>
                      <a:pt x="12" y="274"/>
                      <a:pt x="11" y="276"/>
                    </a:cubicBezTo>
                    <a:cubicBezTo>
                      <a:pt x="11" y="280"/>
                      <a:pt x="9" y="286"/>
                      <a:pt x="11" y="289"/>
                    </a:cubicBezTo>
                    <a:cubicBezTo>
                      <a:pt x="15" y="295"/>
                      <a:pt x="20" y="306"/>
                      <a:pt x="21" y="313"/>
                    </a:cubicBezTo>
                    <a:cubicBezTo>
                      <a:pt x="22" y="317"/>
                      <a:pt x="23" y="324"/>
                      <a:pt x="24" y="329"/>
                    </a:cubicBezTo>
                    <a:cubicBezTo>
                      <a:pt x="42" y="323"/>
                      <a:pt x="68" y="315"/>
                      <a:pt x="71" y="313"/>
                    </a:cubicBezTo>
                    <a:cubicBezTo>
                      <a:pt x="75" y="311"/>
                      <a:pt x="86" y="306"/>
                      <a:pt x="95" y="303"/>
                    </a:cubicBezTo>
                    <a:cubicBezTo>
                      <a:pt x="99" y="302"/>
                      <a:pt x="101" y="300"/>
                      <a:pt x="103" y="300"/>
                    </a:cubicBezTo>
                    <a:cubicBezTo>
                      <a:pt x="105" y="299"/>
                      <a:pt x="107" y="298"/>
                      <a:pt x="109" y="298"/>
                    </a:cubicBezTo>
                    <a:cubicBezTo>
                      <a:pt x="114" y="296"/>
                      <a:pt x="124" y="292"/>
                      <a:pt x="126" y="290"/>
                    </a:cubicBezTo>
                    <a:cubicBezTo>
                      <a:pt x="129" y="284"/>
                      <a:pt x="136" y="276"/>
                      <a:pt x="143" y="275"/>
                    </a:cubicBezTo>
                    <a:cubicBezTo>
                      <a:pt x="147" y="275"/>
                      <a:pt x="156" y="274"/>
                      <a:pt x="162" y="274"/>
                    </a:cubicBezTo>
                    <a:cubicBezTo>
                      <a:pt x="162" y="269"/>
                      <a:pt x="162" y="264"/>
                      <a:pt x="163" y="262"/>
                    </a:cubicBezTo>
                    <a:cubicBezTo>
                      <a:pt x="163" y="261"/>
                      <a:pt x="164" y="260"/>
                      <a:pt x="164" y="259"/>
                    </a:cubicBezTo>
                    <a:cubicBezTo>
                      <a:pt x="163" y="257"/>
                      <a:pt x="162" y="255"/>
                      <a:pt x="161" y="254"/>
                    </a:cubicBezTo>
                    <a:cubicBezTo>
                      <a:pt x="160" y="254"/>
                      <a:pt x="159" y="253"/>
                      <a:pt x="156" y="250"/>
                    </a:cubicBezTo>
                    <a:cubicBezTo>
                      <a:pt x="154" y="248"/>
                      <a:pt x="148" y="243"/>
                      <a:pt x="147" y="243"/>
                    </a:cubicBezTo>
                    <a:cubicBezTo>
                      <a:pt x="147" y="243"/>
                      <a:pt x="147" y="243"/>
                      <a:pt x="147" y="243"/>
                    </a:cubicBezTo>
                    <a:cubicBezTo>
                      <a:pt x="144" y="243"/>
                      <a:pt x="142" y="241"/>
                      <a:pt x="141" y="238"/>
                    </a:cubicBezTo>
                    <a:cubicBezTo>
                      <a:pt x="140" y="235"/>
                      <a:pt x="140" y="228"/>
                      <a:pt x="142" y="225"/>
                    </a:cubicBezTo>
                    <a:cubicBezTo>
                      <a:pt x="142" y="224"/>
                      <a:pt x="141" y="222"/>
                      <a:pt x="140" y="220"/>
                    </a:cubicBezTo>
                    <a:cubicBezTo>
                      <a:pt x="138" y="216"/>
                      <a:pt x="135" y="210"/>
                      <a:pt x="136" y="206"/>
                    </a:cubicBezTo>
                    <a:cubicBezTo>
                      <a:pt x="134" y="196"/>
                      <a:pt x="86" y="80"/>
                      <a:pt x="53" y="0"/>
                    </a:cubicBezTo>
                    <a:cubicBezTo>
                      <a:pt x="52" y="0"/>
                      <a:pt x="52" y="1"/>
                      <a:pt x="51" y="1"/>
                    </a:cubicBezTo>
                    <a:cubicBezTo>
                      <a:pt x="50" y="1"/>
                      <a:pt x="49" y="0"/>
                      <a:pt x="47" y="0"/>
                    </a:cubicBezTo>
                    <a:cubicBezTo>
                      <a:pt x="47" y="0"/>
                      <a:pt x="46" y="0"/>
                      <a:pt x="44" y="0"/>
                    </a:cubicBezTo>
                    <a:cubicBezTo>
                      <a:pt x="36" y="0"/>
                      <a:pt x="22" y="5"/>
                      <a:pt x="16" y="16"/>
                    </a:cubicBezTo>
                    <a:cubicBezTo>
                      <a:pt x="14" y="21"/>
                      <a:pt x="11" y="24"/>
                      <a:pt x="8" y="28"/>
                    </a:cubicBezTo>
                    <a:cubicBezTo>
                      <a:pt x="8" y="32"/>
                      <a:pt x="9" y="39"/>
                      <a:pt x="7" y="45"/>
                    </a:cubicBezTo>
                    <a:cubicBezTo>
                      <a:pt x="4" y="52"/>
                      <a:pt x="4" y="66"/>
                      <a:pt x="7" y="71"/>
                    </a:cubicBezTo>
                    <a:cubicBezTo>
                      <a:pt x="8" y="72"/>
                      <a:pt x="10" y="75"/>
                      <a:pt x="12" y="77"/>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1">
                <a:extLst>
                  <a:ext uri="{FF2B5EF4-FFF2-40B4-BE49-F238E27FC236}">
                    <a16:creationId xmlns:a16="http://schemas.microsoft.com/office/drawing/2014/main" id="{6341BC06-38E9-4F64-BDF5-14DF4D5CA76D}"/>
                  </a:ext>
                </a:extLst>
              </p:cNvPr>
              <p:cNvSpPr>
                <a:spLocks/>
              </p:cNvSpPr>
              <p:nvPr/>
            </p:nvSpPr>
            <p:spPr bwMode="auto">
              <a:xfrm>
                <a:off x="6394" y="325"/>
                <a:ext cx="405" cy="697"/>
              </a:xfrm>
              <a:custGeom>
                <a:avLst/>
                <a:gdLst>
                  <a:gd name="T0" fmla="*/ 90 w 345"/>
                  <a:gd name="T1" fmla="*/ 570 h 592"/>
                  <a:gd name="T2" fmla="*/ 103 w 345"/>
                  <a:gd name="T3" fmla="*/ 585 h 592"/>
                  <a:gd name="T4" fmla="*/ 110 w 345"/>
                  <a:gd name="T5" fmla="*/ 592 h 592"/>
                  <a:gd name="T6" fmla="*/ 115 w 345"/>
                  <a:gd name="T7" fmla="*/ 533 h 592"/>
                  <a:gd name="T8" fmla="*/ 122 w 345"/>
                  <a:gd name="T9" fmla="*/ 495 h 592"/>
                  <a:gd name="T10" fmla="*/ 125 w 345"/>
                  <a:gd name="T11" fmla="*/ 486 h 592"/>
                  <a:gd name="T12" fmla="*/ 166 w 345"/>
                  <a:gd name="T13" fmla="*/ 417 h 592"/>
                  <a:gd name="T14" fmla="*/ 194 w 345"/>
                  <a:gd name="T15" fmla="*/ 405 h 592"/>
                  <a:gd name="T16" fmla="*/ 199 w 345"/>
                  <a:gd name="T17" fmla="*/ 405 h 592"/>
                  <a:gd name="T18" fmla="*/ 196 w 345"/>
                  <a:gd name="T19" fmla="*/ 360 h 592"/>
                  <a:gd name="T20" fmla="*/ 208 w 345"/>
                  <a:gd name="T21" fmla="*/ 333 h 592"/>
                  <a:gd name="T22" fmla="*/ 226 w 345"/>
                  <a:gd name="T23" fmla="*/ 339 h 592"/>
                  <a:gd name="T24" fmla="*/ 251 w 345"/>
                  <a:gd name="T25" fmla="*/ 344 h 592"/>
                  <a:gd name="T26" fmla="*/ 255 w 345"/>
                  <a:gd name="T27" fmla="*/ 307 h 592"/>
                  <a:gd name="T28" fmla="*/ 278 w 345"/>
                  <a:gd name="T29" fmla="*/ 302 h 592"/>
                  <a:gd name="T30" fmla="*/ 293 w 345"/>
                  <a:gd name="T31" fmla="*/ 293 h 592"/>
                  <a:gd name="T32" fmla="*/ 309 w 345"/>
                  <a:gd name="T33" fmla="*/ 281 h 592"/>
                  <a:gd name="T34" fmla="*/ 318 w 345"/>
                  <a:gd name="T35" fmla="*/ 281 h 592"/>
                  <a:gd name="T36" fmla="*/ 342 w 345"/>
                  <a:gd name="T37" fmla="*/ 256 h 592"/>
                  <a:gd name="T38" fmla="*/ 321 w 345"/>
                  <a:gd name="T39" fmla="*/ 241 h 592"/>
                  <a:gd name="T40" fmla="*/ 301 w 345"/>
                  <a:gd name="T41" fmla="*/ 213 h 592"/>
                  <a:gd name="T42" fmla="*/ 309 w 345"/>
                  <a:gd name="T43" fmla="*/ 191 h 592"/>
                  <a:gd name="T44" fmla="*/ 281 w 345"/>
                  <a:gd name="T45" fmla="*/ 175 h 592"/>
                  <a:gd name="T46" fmla="*/ 266 w 345"/>
                  <a:gd name="T47" fmla="*/ 116 h 592"/>
                  <a:gd name="T48" fmla="*/ 204 w 345"/>
                  <a:gd name="T49" fmla="*/ 23 h 592"/>
                  <a:gd name="T50" fmla="*/ 166 w 345"/>
                  <a:gd name="T51" fmla="*/ 31 h 592"/>
                  <a:gd name="T52" fmla="*/ 140 w 345"/>
                  <a:gd name="T53" fmla="*/ 14 h 592"/>
                  <a:gd name="T54" fmla="*/ 96 w 345"/>
                  <a:gd name="T55" fmla="*/ 54 h 592"/>
                  <a:gd name="T56" fmla="*/ 64 w 345"/>
                  <a:gd name="T57" fmla="*/ 110 h 592"/>
                  <a:gd name="T58" fmla="*/ 58 w 345"/>
                  <a:gd name="T59" fmla="*/ 150 h 592"/>
                  <a:gd name="T60" fmla="*/ 42 w 345"/>
                  <a:gd name="T61" fmla="*/ 194 h 592"/>
                  <a:gd name="T62" fmla="*/ 48 w 345"/>
                  <a:gd name="T63" fmla="*/ 211 h 592"/>
                  <a:gd name="T64" fmla="*/ 50 w 345"/>
                  <a:gd name="T65" fmla="*/ 248 h 592"/>
                  <a:gd name="T66" fmla="*/ 34 w 345"/>
                  <a:gd name="T67" fmla="*/ 284 h 592"/>
                  <a:gd name="T68" fmla="*/ 27 w 345"/>
                  <a:gd name="T69" fmla="*/ 318 h 592"/>
                  <a:gd name="T70" fmla="*/ 2 w 345"/>
                  <a:gd name="T71" fmla="*/ 328 h 592"/>
                  <a:gd name="T72" fmla="*/ 0 w 345"/>
                  <a:gd name="T73" fmla="*/ 336 h 592"/>
                  <a:gd name="T74" fmla="*/ 89 w 345"/>
                  <a:gd name="T75" fmla="*/ 558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592">
                    <a:moveTo>
                      <a:pt x="89" y="558"/>
                    </a:moveTo>
                    <a:cubicBezTo>
                      <a:pt x="91" y="563"/>
                      <a:pt x="93" y="567"/>
                      <a:pt x="90" y="570"/>
                    </a:cubicBezTo>
                    <a:cubicBezTo>
                      <a:pt x="90" y="571"/>
                      <a:pt x="89" y="574"/>
                      <a:pt x="89" y="576"/>
                    </a:cubicBezTo>
                    <a:cubicBezTo>
                      <a:pt x="93" y="577"/>
                      <a:pt x="97" y="580"/>
                      <a:pt x="103" y="585"/>
                    </a:cubicBezTo>
                    <a:cubicBezTo>
                      <a:pt x="104" y="586"/>
                      <a:pt x="106" y="588"/>
                      <a:pt x="106" y="588"/>
                    </a:cubicBezTo>
                    <a:cubicBezTo>
                      <a:pt x="107" y="589"/>
                      <a:pt x="109" y="590"/>
                      <a:pt x="110" y="592"/>
                    </a:cubicBezTo>
                    <a:cubicBezTo>
                      <a:pt x="111" y="591"/>
                      <a:pt x="111" y="590"/>
                      <a:pt x="112" y="588"/>
                    </a:cubicBezTo>
                    <a:cubicBezTo>
                      <a:pt x="115" y="582"/>
                      <a:pt x="115" y="550"/>
                      <a:pt x="115" y="533"/>
                    </a:cubicBezTo>
                    <a:cubicBezTo>
                      <a:pt x="115" y="525"/>
                      <a:pt x="115" y="525"/>
                      <a:pt x="115" y="525"/>
                    </a:cubicBezTo>
                    <a:cubicBezTo>
                      <a:pt x="115" y="505"/>
                      <a:pt x="115" y="498"/>
                      <a:pt x="122" y="495"/>
                    </a:cubicBezTo>
                    <a:cubicBezTo>
                      <a:pt x="123" y="495"/>
                      <a:pt x="125" y="491"/>
                      <a:pt x="125" y="488"/>
                    </a:cubicBezTo>
                    <a:cubicBezTo>
                      <a:pt x="125" y="487"/>
                      <a:pt x="125" y="486"/>
                      <a:pt x="125" y="486"/>
                    </a:cubicBezTo>
                    <a:cubicBezTo>
                      <a:pt x="124" y="481"/>
                      <a:pt x="124" y="473"/>
                      <a:pt x="130" y="466"/>
                    </a:cubicBezTo>
                    <a:cubicBezTo>
                      <a:pt x="136" y="460"/>
                      <a:pt x="160" y="429"/>
                      <a:pt x="166" y="417"/>
                    </a:cubicBezTo>
                    <a:cubicBezTo>
                      <a:pt x="171" y="407"/>
                      <a:pt x="178" y="405"/>
                      <a:pt x="186" y="405"/>
                    </a:cubicBezTo>
                    <a:cubicBezTo>
                      <a:pt x="189" y="405"/>
                      <a:pt x="191" y="405"/>
                      <a:pt x="194" y="405"/>
                    </a:cubicBezTo>
                    <a:cubicBezTo>
                      <a:pt x="197" y="405"/>
                      <a:pt x="197" y="405"/>
                      <a:pt x="197" y="405"/>
                    </a:cubicBezTo>
                    <a:cubicBezTo>
                      <a:pt x="198" y="405"/>
                      <a:pt x="198" y="405"/>
                      <a:pt x="199" y="405"/>
                    </a:cubicBezTo>
                    <a:cubicBezTo>
                      <a:pt x="202" y="401"/>
                      <a:pt x="199" y="384"/>
                      <a:pt x="198" y="375"/>
                    </a:cubicBezTo>
                    <a:cubicBezTo>
                      <a:pt x="196" y="367"/>
                      <a:pt x="196" y="362"/>
                      <a:pt x="196" y="360"/>
                    </a:cubicBezTo>
                    <a:cubicBezTo>
                      <a:pt x="197" y="358"/>
                      <a:pt x="197" y="357"/>
                      <a:pt x="197" y="355"/>
                    </a:cubicBezTo>
                    <a:cubicBezTo>
                      <a:pt x="199" y="348"/>
                      <a:pt x="200" y="337"/>
                      <a:pt x="208" y="333"/>
                    </a:cubicBezTo>
                    <a:cubicBezTo>
                      <a:pt x="211" y="331"/>
                      <a:pt x="214" y="331"/>
                      <a:pt x="216" y="331"/>
                    </a:cubicBezTo>
                    <a:cubicBezTo>
                      <a:pt x="219" y="331"/>
                      <a:pt x="224" y="332"/>
                      <a:pt x="226" y="339"/>
                    </a:cubicBezTo>
                    <a:cubicBezTo>
                      <a:pt x="227" y="341"/>
                      <a:pt x="243" y="343"/>
                      <a:pt x="250" y="344"/>
                    </a:cubicBezTo>
                    <a:cubicBezTo>
                      <a:pt x="251" y="344"/>
                      <a:pt x="251" y="344"/>
                      <a:pt x="251" y="344"/>
                    </a:cubicBezTo>
                    <a:cubicBezTo>
                      <a:pt x="254" y="341"/>
                      <a:pt x="254" y="329"/>
                      <a:pt x="253" y="322"/>
                    </a:cubicBezTo>
                    <a:cubicBezTo>
                      <a:pt x="253" y="314"/>
                      <a:pt x="253" y="310"/>
                      <a:pt x="255" y="307"/>
                    </a:cubicBezTo>
                    <a:cubicBezTo>
                      <a:pt x="258" y="301"/>
                      <a:pt x="266" y="302"/>
                      <a:pt x="274" y="302"/>
                    </a:cubicBezTo>
                    <a:cubicBezTo>
                      <a:pt x="275" y="302"/>
                      <a:pt x="276" y="302"/>
                      <a:pt x="278" y="302"/>
                    </a:cubicBezTo>
                    <a:cubicBezTo>
                      <a:pt x="280" y="302"/>
                      <a:pt x="283" y="302"/>
                      <a:pt x="285" y="301"/>
                    </a:cubicBezTo>
                    <a:cubicBezTo>
                      <a:pt x="289" y="300"/>
                      <a:pt x="291" y="297"/>
                      <a:pt x="293" y="293"/>
                    </a:cubicBezTo>
                    <a:cubicBezTo>
                      <a:pt x="295" y="290"/>
                      <a:pt x="297" y="287"/>
                      <a:pt x="299" y="284"/>
                    </a:cubicBezTo>
                    <a:cubicBezTo>
                      <a:pt x="303" y="281"/>
                      <a:pt x="306" y="281"/>
                      <a:pt x="309" y="281"/>
                    </a:cubicBezTo>
                    <a:cubicBezTo>
                      <a:pt x="310" y="281"/>
                      <a:pt x="311" y="281"/>
                      <a:pt x="313" y="281"/>
                    </a:cubicBezTo>
                    <a:cubicBezTo>
                      <a:pt x="315" y="281"/>
                      <a:pt x="317" y="282"/>
                      <a:pt x="318" y="281"/>
                    </a:cubicBezTo>
                    <a:cubicBezTo>
                      <a:pt x="320" y="281"/>
                      <a:pt x="326" y="274"/>
                      <a:pt x="331" y="268"/>
                    </a:cubicBezTo>
                    <a:cubicBezTo>
                      <a:pt x="334" y="264"/>
                      <a:pt x="338" y="260"/>
                      <a:pt x="342" y="256"/>
                    </a:cubicBezTo>
                    <a:cubicBezTo>
                      <a:pt x="345" y="253"/>
                      <a:pt x="345" y="251"/>
                      <a:pt x="345" y="251"/>
                    </a:cubicBezTo>
                    <a:cubicBezTo>
                      <a:pt x="343" y="247"/>
                      <a:pt x="335" y="242"/>
                      <a:pt x="321" y="241"/>
                    </a:cubicBezTo>
                    <a:cubicBezTo>
                      <a:pt x="313" y="240"/>
                      <a:pt x="307" y="237"/>
                      <a:pt x="304" y="232"/>
                    </a:cubicBezTo>
                    <a:cubicBezTo>
                      <a:pt x="301" y="227"/>
                      <a:pt x="300" y="221"/>
                      <a:pt x="301" y="213"/>
                    </a:cubicBezTo>
                    <a:cubicBezTo>
                      <a:pt x="302" y="210"/>
                      <a:pt x="304" y="203"/>
                      <a:pt x="307" y="196"/>
                    </a:cubicBezTo>
                    <a:cubicBezTo>
                      <a:pt x="309" y="191"/>
                      <a:pt x="309" y="191"/>
                      <a:pt x="309" y="191"/>
                    </a:cubicBezTo>
                    <a:cubicBezTo>
                      <a:pt x="310" y="187"/>
                      <a:pt x="298" y="182"/>
                      <a:pt x="289" y="178"/>
                    </a:cubicBezTo>
                    <a:cubicBezTo>
                      <a:pt x="287" y="177"/>
                      <a:pt x="284" y="176"/>
                      <a:pt x="281" y="175"/>
                    </a:cubicBezTo>
                    <a:cubicBezTo>
                      <a:pt x="269" y="169"/>
                      <a:pt x="268" y="158"/>
                      <a:pt x="268" y="143"/>
                    </a:cubicBezTo>
                    <a:cubicBezTo>
                      <a:pt x="268" y="135"/>
                      <a:pt x="268" y="126"/>
                      <a:pt x="266" y="116"/>
                    </a:cubicBezTo>
                    <a:cubicBezTo>
                      <a:pt x="260" y="83"/>
                      <a:pt x="241" y="54"/>
                      <a:pt x="228" y="36"/>
                    </a:cubicBezTo>
                    <a:cubicBezTo>
                      <a:pt x="222" y="27"/>
                      <a:pt x="214" y="23"/>
                      <a:pt x="204" y="23"/>
                    </a:cubicBezTo>
                    <a:cubicBezTo>
                      <a:pt x="195" y="23"/>
                      <a:pt x="187" y="26"/>
                      <a:pt x="184" y="28"/>
                    </a:cubicBezTo>
                    <a:cubicBezTo>
                      <a:pt x="180" y="30"/>
                      <a:pt x="173" y="31"/>
                      <a:pt x="166" y="31"/>
                    </a:cubicBezTo>
                    <a:cubicBezTo>
                      <a:pt x="162" y="31"/>
                      <a:pt x="154" y="31"/>
                      <a:pt x="149" y="27"/>
                    </a:cubicBezTo>
                    <a:cubicBezTo>
                      <a:pt x="145" y="25"/>
                      <a:pt x="143" y="20"/>
                      <a:pt x="140" y="14"/>
                    </a:cubicBezTo>
                    <a:cubicBezTo>
                      <a:pt x="136" y="6"/>
                      <a:pt x="133" y="0"/>
                      <a:pt x="128" y="0"/>
                    </a:cubicBezTo>
                    <a:cubicBezTo>
                      <a:pt x="119" y="0"/>
                      <a:pt x="103" y="32"/>
                      <a:pt x="96" y="54"/>
                    </a:cubicBezTo>
                    <a:cubicBezTo>
                      <a:pt x="92" y="64"/>
                      <a:pt x="84" y="77"/>
                      <a:pt x="77" y="88"/>
                    </a:cubicBezTo>
                    <a:cubicBezTo>
                      <a:pt x="71" y="97"/>
                      <a:pt x="65" y="105"/>
                      <a:pt x="64" y="110"/>
                    </a:cubicBezTo>
                    <a:cubicBezTo>
                      <a:pt x="61" y="119"/>
                      <a:pt x="60" y="133"/>
                      <a:pt x="58" y="145"/>
                    </a:cubicBezTo>
                    <a:cubicBezTo>
                      <a:pt x="58" y="150"/>
                      <a:pt x="58" y="150"/>
                      <a:pt x="58" y="150"/>
                    </a:cubicBezTo>
                    <a:cubicBezTo>
                      <a:pt x="57" y="159"/>
                      <a:pt x="53" y="168"/>
                      <a:pt x="49" y="177"/>
                    </a:cubicBezTo>
                    <a:cubicBezTo>
                      <a:pt x="46" y="183"/>
                      <a:pt x="44" y="188"/>
                      <a:pt x="42" y="194"/>
                    </a:cubicBezTo>
                    <a:cubicBezTo>
                      <a:pt x="37" y="206"/>
                      <a:pt x="39" y="206"/>
                      <a:pt x="46" y="210"/>
                    </a:cubicBezTo>
                    <a:cubicBezTo>
                      <a:pt x="48" y="211"/>
                      <a:pt x="48" y="211"/>
                      <a:pt x="48" y="211"/>
                    </a:cubicBezTo>
                    <a:cubicBezTo>
                      <a:pt x="56" y="215"/>
                      <a:pt x="54" y="225"/>
                      <a:pt x="52" y="234"/>
                    </a:cubicBezTo>
                    <a:cubicBezTo>
                      <a:pt x="51" y="239"/>
                      <a:pt x="50" y="244"/>
                      <a:pt x="50" y="248"/>
                    </a:cubicBezTo>
                    <a:cubicBezTo>
                      <a:pt x="50" y="260"/>
                      <a:pt x="46" y="266"/>
                      <a:pt x="40" y="275"/>
                    </a:cubicBezTo>
                    <a:cubicBezTo>
                      <a:pt x="38" y="277"/>
                      <a:pt x="36" y="280"/>
                      <a:pt x="34" y="284"/>
                    </a:cubicBezTo>
                    <a:cubicBezTo>
                      <a:pt x="26" y="297"/>
                      <a:pt x="27" y="299"/>
                      <a:pt x="29" y="307"/>
                    </a:cubicBezTo>
                    <a:cubicBezTo>
                      <a:pt x="30" y="312"/>
                      <a:pt x="30" y="315"/>
                      <a:pt x="27" y="318"/>
                    </a:cubicBezTo>
                    <a:cubicBezTo>
                      <a:pt x="24" y="322"/>
                      <a:pt x="19" y="323"/>
                      <a:pt x="14" y="323"/>
                    </a:cubicBezTo>
                    <a:cubicBezTo>
                      <a:pt x="7" y="323"/>
                      <a:pt x="4" y="324"/>
                      <a:pt x="2" y="328"/>
                    </a:cubicBezTo>
                    <a:cubicBezTo>
                      <a:pt x="2" y="329"/>
                      <a:pt x="2" y="331"/>
                      <a:pt x="1" y="332"/>
                    </a:cubicBezTo>
                    <a:cubicBezTo>
                      <a:pt x="1" y="333"/>
                      <a:pt x="1" y="334"/>
                      <a:pt x="0" y="336"/>
                    </a:cubicBezTo>
                    <a:cubicBezTo>
                      <a:pt x="39" y="429"/>
                      <a:pt x="85" y="542"/>
                      <a:pt x="85" y="547"/>
                    </a:cubicBezTo>
                    <a:cubicBezTo>
                      <a:pt x="84" y="549"/>
                      <a:pt x="87" y="555"/>
                      <a:pt x="89" y="5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2">
                <a:extLst>
                  <a:ext uri="{FF2B5EF4-FFF2-40B4-BE49-F238E27FC236}">
                    <a16:creationId xmlns:a16="http://schemas.microsoft.com/office/drawing/2014/main" id="{14A60ACD-CDCE-41EC-8616-19735B6240D8}"/>
                  </a:ext>
                </a:extLst>
              </p:cNvPr>
              <p:cNvSpPr>
                <a:spLocks/>
              </p:cNvSpPr>
              <p:nvPr/>
            </p:nvSpPr>
            <p:spPr bwMode="auto">
              <a:xfrm>
                <a:off x="6188" y="1374"/>
                <a:ext cx="287" cy="159"/>
              </a:xfrm>
              <a:custGeom>
                <a:avLst/>
                <a:gdLst>
                  <a:gd name="T0" fmla="*/ 131 w 244"/>
                  <a:gd name="T1" fmla="*/ 40 h 135"/>
                  <a:gd name="T2" fmla="*/ 127 w 244"/>
                  <a:gd name="T3" fmla="*/ 42 h 135"/>
                  <a:gd name="T4" fmla="*/ 91 w 244"/>
                  <a:gd name="T5" fmla="*/ 49 h 135"/>
                  <a:gd name="T6" fmla="*/ 63 w 244"/>
                  <a:gd name="T7" fmla="*/ 43 h 135"/>
                  <a:gd name="T8" fmla="*/ 52 w 244"/>
                  <a:gd name="T9" fmla="*/ 40 h 135"/>
                  <a:gd name="T10" fmla="*/ 40 w 244"/>
                  <a:gd name="T11" fmla="*/ 38 h 135"/>
                  <a:gd name="T12" fmla="*/ 19 w 244"/>
                  <a:gd name="T13" fmla="*/ 33 h 135"/>
                  <a:gd name="T14" fmla="*/ 16 w 244"/>
                  <a:gd name="T15" fmla="*/ 31 h 135"/>
                  <a:gd name="T16" fmla="*/ 10 w 244"/>
                  <a:gd name="T17" fmla="*/ 48 h 135"/>
                  <a:gd name="T18" fmla="*/ 0 w 244"/>
                  <a:gd name="T19" fmla="*/ 60 h 135"/>
                  <a:gd name="T20" fmla="*/ 8 w 244"/>
                  <a:gd name="T21" fmla="*/ 69 h 135"/>
                  <a:gd name="T22" fmla="*/ 10 w 244"/>
                  <a:gd name="T23" fmla="*/ 71 h 135"/>
                  <a:gd name="T24" fmla="*/ 14 w 244"/>
                  <a:gd name="T25" fmla="*/ 80 h 135"/>
                  <a:gd name="T26" fmla="*/ 9 w 244"/>
                  <a:gd name="T27" fmla="*/ 93 h 135"/>
                  <a:gd name="T28" fmla="*/ 6 w 244"/>
                  <a:gd name="T29" fmla="*/ 99 h 135"/>
                  <a:gd name="T30" fmla="*/ 7 w 244"/>
                  <a:gd name="T31" fmla="*/ 100 h 135"/>
                  <a:gd name="T32" fmla="*/ 16 w 244"/>
                  <a:gd name="T33" fmla="*/ 110 h 135"/>
                  <a:gd name="T34" fmla="*/ 30 w 244"/>
                  <a:gd name="T35" fmla="*/ 124 h 135"/>
                  <a:gd name="T36" fmla="*/ 49 w 244"/>
                  <a:gd name="T37" fmla="*/ 135 h 135"/>
                  <a:gd name="T38" fmla="*/ 88 w 244"/>
                  <a:gd name="T39" fmla="*/ 105 h 135"/>
                  <a:gd name="T40" fmla="*/ 100 w 244"/>
                  <a:gd name="T41" fmla="*/ 92 h 135"/>
                  <a:gd name="T42" fmla="*/ 103 w 244"/>
                  <a:gd name="T43" fmla="*/ 89 h 135"/>
                  <a:gd name="T44" fmla="*/ 109 w 244"/>
                  <a:gd name="T45" fmla="*/ 79 h 135"/>
                  <a:gd name="T46" fmla="*/ 115 w 244"/>
                  <a:gd name="T47" fmla="*/ 70 h 135"/>
                  <a:gd name="T48" fmla="*/ 122 w 244"/>
                  <a:gd name="T49" fmla="*/ 66 h 135"/>
                  <a:gd name="T50" fmla="*/ 135 w 244"/>
                  <a:gd name="T51" fmla="*/ 71 h 135"/>
                  <a:gd name="T52" fmla="*/ 148 w 244"/>
                  <a:gd name="T53" fmla="*/ 76 h 135"/>
                  <a:gd name="T54" fmla="*/ 155 w 244"/>
                  <a:gd name="T55" fmla="*/ 73 h 135"/>
                  <a:gd name="T56" fmla="*/ 154 w 244"/>
                  <a:gd name="T57" fmla="*/ 68 h 135"/>
                  <a:gd name="T58" fmla="*/ 153 w 244"/>
                  <a:gd name="T59" fmla="*/ 60 h 135"/>
                  <a:gd name="T60" fmla="*/ 163 w 244"/>
                  <a:gd name="T61" fmla="*/ 56 h 135"/>
                  <a:gd name="T62" fmla="*/ 171 w 244"/>
                  <a:gd name="T63" fmla="*/ 57 h 135"/>
                  <a:gd name="T64" fmla="*/ 190 w 244"/>
                  <a:gd name="T65" fmla="*/ 44 h 135"/>
                  <a:gd name="T66" fmla="*/ 232 w 244"/>
                  <a:gd name="T67" fmla="*/ 15 h 135"/>
                  <a:gd name="T68" fmla="*/ 241 w 244"/>
                  <a:gd name="T69" fmla="*/ 10 h 135"/>
                  <a:gd name="T70" fmla="*/ 244 w 244"/>
                  <a:gd name="T71" fmla="*/ 5 h 135"/>
                  <a:gd name="T72" fmla="*/ 239 w 244"/>
                  <a:gd name="T73" fmla="*/ 0 h 135"/>
                  <a:gd name="T74" fmla="*/ 235 w 244"/>
                  <a:gd name="T75" fmla="*/ 5 h 135"/>
                  <a:gd name="T76" fmla="*/ 232 w 244"/>
                  <a:gd name="T77" fmla="*/ 10 h 135"/>
                  <a:gd name="T78" fmla="*/ 227 w 244"/>
                  <a:gd name="T79" fmla="*/ 13 h 135"/>
                  <a:gd name="T80" fmla="*/ 216 w 244"/>
                  <a:gd name="T81" fmla="*/ 0 h 135"/>
                  <a:gd name="T82" fmla="*/ 216 w 244"/>
                  <a:gd name="T83" fmla="*/ 0 h 135"/>
                  <a:gd name="T84" fmla="*/ 208 w 244"/>
                  <a:gd name="T85" fmla="*/ 7 h 135"/>
                  <a:gd name="T86" fmla="*/ 198 w 244"/>
                  <a:gd name="T87" fmla="*/ 19 h 135"/>
                  <a:gd name="T88" fmla="*/ 193 w 244"/>
                  <a:gd name="T89" fmla="*/ 21 h 135"/>
                  <a:gd name="T90" fmla="*/ 174 w 244"/>
                  <a:gd name="T91" fmla="*/ 35 h 135"/>
                  <a:gd name="T92" fmla="*/ 156 w 244"/>
                  <a:gd name="T93" fmla="*/ 45 h 135"/>
                  <a:gd name="T94" fmla="*/ 144 w 244"/>
                  <a:gd name="T95" fmla="*/ 42 h 135"/>
                  <a:gd name="T96" fmla="*/ 137 w 244"/>
                  <a:gd name="T97" fmla="*/ 35 h 135"/>
                  <a:gd name="T98" fmla="*/ 131 w 244"/>
                  <a:gd name="T99" fmla="*/ 4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4" h="135">
                    <a:moveTo>
                      <a:pt x="131" y="40"/>
                    </a:moveTo>
                    <a:cubicBezTo>
                      <a:pt x="130" y="40"/>
                      <a:pt x="129" y="41"/>
                      <a:pt x="127" y="42"/>
                    </a:cubicBezTo>
                    <a:cubicBezTo>
                      <a:pt x="121" y="47"/>
                      <a:pt x="110" y="54"/>
                      <a:pt x="91" y="49"/>
                    </a:cubicBezTo>
                    <a:cubicBezTo>
                      <a:pt x="78" y="46"/>
                      <a:pt x="70" y="44"/>
                      <a:pt x="63" y="43"/>
                    </a:cubicBezTo>
                    <a:cubicBezTo>
                      <a:pt x="59" y="42"/>
                      <a:pt x="55" y="41"/>
                      <a:pt x="52" y="40"/>
                    </a:cubicBezTo>
                    <a:cubicBezTo>
                      <a:pt x="50" y="39"/>
                      <a:pt x="45" y="39"/>
                      <a:pt x="40" y="38"/>
                    </a:cubicBezTo>
                    <a:cubicBezTo>
                      <a:pt x="27" y="37"/>
                      <a:pt x="21" y="36"/>
                      <a:pt x="19" y="33"/>
                    </a:cubicBezTo>
                    <a:cubicBezTo>
                      <a:pt x="19" y="32"/>
                      <a:pt x="17" y="32"/>
                      <a:pt x="16" y="31"/>
                    </a:cubicBezTo>
                    <a:cubicBezTo>
                      <a:pt x="16" y="37"/>
                      <a:pt x="15" y="44"/>
                      <a:pt x="10" y="48"/>
                    </a:cubicBezTo>
                    <a:cubicBezTo>
                      <a:pt x="6" y="51"/>
                      <a:pt x="1" y="55"/>
                      <a:pt x="0" y="60"/>
                    </a:cubicBezTo>
                    <a:cubicBezTo>
                      <a:pt x="0" y="63"/>
                      <a:pt x="5" y="67"/>
                      <a:pt x="8" y="69"/>
                    </a:cubicBezTo>
                    <a:cubicBezTo>
                      <a:pt x="9" y="70"/>
                      <a:pt x="10" y="71"/>
                      <a:pt x="10" y="71"/>
                    </a:cubicBezTo>
                    <a:cubicBezTo>
                      <a:pt x="12" y="73"/>
                      <a:pt x="14" y="76"/>
                      <a:pt x="14" y="80"/>
                    </a:cubicBezTo>
                    <a:cubicBezTo>
                      <a:pt x="14" y="85"/>
                      <a:pt x="12" y="90"/>
                      <a:pt x="9" y="93"/>
                    </a:cubicBezTo>
                    <a:cubicBezTo>
                      <a:pt x="8" y="95"/>
                      <a:pt x="6" y="97"/>
                      <a:pt x="6" y="99"/>
                    </a:cubicBezTo>
                    <a:cubicBezTo>
                      <a:pt x="6" y="100"/>
                      <a:pt x="6" y="100"/>
                      <a:pt x="7" y="100"/>
                    </a:cubicBezTo>
                    <a:cubicBezTo>
                      <a:pt x="9" y="102"/>
                      <a:pt x="12" y="105"/>
                      <a:pt x="16" y="110"/>
                    </a:cubicBezTo>
                    <a:cubicBezTo>
                      <a:pt x="20" y="114"/>
                      <a:pt x="27" y="123"/>
                      <a:pt x="30" y="124"/>
                    </a:cubicBezTo>
                    <a:cubicBezTo>
                      <a:pt x="32" y="124"/>
                      <a:pt x="42" y="129"/>
                      <a:pt x="49" y="135"/>
                    </a:cubicBezTo>
                    <a:cubicBezTo>
                      <a:pt x="55" y="125"/>
                      <a:pt x="71" y="104"/>
                      <a:pt x="88" y="105"/>
                    </a:cubicBezTo>
                    <a:cubicBezTo>
                      <a:pt x="90" y="101"/>
                      <a:pt x="95" y="96"/>
                      <a:pt x="100" y="92"/>
                    </a:cubicBezTo>
                    <a:cubicBezTo>
                      <a:pt x="101" y="91"/>
                      <a:pt x="102" y="90"/>
                      <a:pt x="103" y="89"/>
                    </a:cubicBezTo>
                    <a:cubicBezTo>
                      <a:pt x="106" y="85"/>
                      <a:pt x="108" y="82"/>
                      <a:pt x="109" y="79"/>
                    </a:cubicBezTo>
                    <a:cubicBezTo>
                      <a:pt x="111" y="76"/>
                      <a:pt x="112" y="73"/>
                      <a:pt x="115" y="70"/>
                    </a:cubicBezTo>
                    <a:cubicBezTo>
                      <a:pt x="117" y="67"/>
                      <a:pt x="119" y="66"/>
                      <a:pt x="122" y="66"/>
                    </a:cubicBezTo>
                    <a:cubicBezTo>
                      <a:pt x="126" y="66"/>
                      <a:pt x="131" y="68"/>
                      <a:pt x="135" y="71"/>
                    </a:cubicBezTo>
                    <a:cubicBezTo>
                      <a:pt x="139" y="73"/>
                      <a:pt x="144" y="76"/>
                      <a:pt x="148" y="76"/>
                    </a:cubicBezTo>
                    <a:cubicBezTo>
                      <a:pt x="152" y="76"/>
                      <a:pt x="154" y="75"/>
                      <a:pt x="155" y="73"/>
                    </a:cubicBezTo>
                    <a:cubicBezTo>
                      <a:pt x="156" y="72"/>
                      <a:pt x="155" y="70"/>
                      <a:pt x="154" y="68"/>
                    </a:cubicBezTo>
                    <a:cubicBezTo>
                      <a:pt x="152" y="64"/>
                      <a:pt x="152" y="62"/>
                      <a:pt x="153" y="60"/>
                    </a:cubicBezTo>
                    <a:cubicBezTo>
                      <a:pt x="155" y="58"/>
                      <a:pt x="158" y="56"/>
                      <a:pt x="163" y="56"/>
                    </a:cubicBezTo>
                    <a:cubicBezTo>
                      <a:pt x="166" y="56"/>
                      <a:pt x="168" y="56"/>
                      <a:pt x="171" y="57"/>
                    </a:cubicBezTo>
                    <a:cubicBezTo>
                      <a:pt x="177" y="58"/>
                      <a:pt x="186" y="51"/>
                      <a:pt x="190" y="44"/>
                    </a:cubicBezTo>
                    <a:cubicBezTo>
                      <a:pt x="194" y="38"/>
                      <a:pt x="212" y="27"/>
                      <a:pt x="232" y="15"/>
                    </a:cubicBezTo>
                    <a:cubicBezTo>
                      <a:pt x="236" y="13"/>
                      <a:pt x="240" y="11"/>
                      <a:pt x="241" y="10"/>
                    </a:cubicBezTo>
                    <a:cubicBezTo>
                      <a:pt x="243" y="9"/>
                      <a:pt x="244" y="7"/>
                      <a:pt x="244" y="5"/>
                    </a:cubicBezTo>
                    <a:cubicBezTo>
                      <a:pt x="243" y="3"/>
                      <a:pt x="241" y="0"/>
                      <a:pt x="239" y="0"/>
                    </a:cubicBezTo>
                    <a:cubicBezTo>
                      <a:pt x="237" y="0"/>
                      <a:pt x="237" y="0"/>
                      <a:pt x="235" y="5"/>
                    </a:cubicBezTo>
                    <a:cubicBezTo>
                      <a:pt x="234" y="6"/>
                      <a:pt x="233" y="8"/>
                      <a:pt x="232" y="10"/>
                    </a:cubicBezTo>
                    <a:cubicBezTo>
                      <a:pt x="230" y="13"/>
                      <a:pt x="228" y="13"/>
                      <a:pt x="227" y="13"/>
                    </a:cubicBezTo>
                    <a:cubicBezTo>
                      <a:pt x="221" y="13"/>
                      <a:pt x="217" y="6"/>
                      <a:pt x="216" y="0"/>
                    </a:cubicBezTo>
                    <a:cubicBezTo>
                      <a:pt x="216" y="0"/>
                      <a:pt x="216" y="0"/>
                      <a:pt x="216" y="0"/>
                    </a:cubicBezTo>
                    <a:cubicBezTo>
                      <a:pt x="214" y="0"/>
                      <a:pt x="209" y="2"/>
                      <a:pt x="208" y="7"/>
                    </a:cubicBezTo>
                    <a:cubicBezTo>
                      <a:pt x="206" y="16"/>
                      <a:pt x="203" y="17"/>
                      <a:pt x="198" y="19"/>
                    </a:cubicBezTo>
                    <a:cubicBezTo>
                      <a:pt x="197" y="19"/>
                      <a:pt x="195" y="20"/>
                      <a:pt x="193" y="21"/>
                    </a:cubicBezTo>
                    <a:cubicBezTo>
                      <a:pt x="186" y="24"/>
                      <a:pt x="177" y="28"/>
                      <a:pt x="174" y="35"/>
                    </a:cubicBezTo>
                    <a:cubicBezTo>
                      <a:pt x="171" y="41"/>
                      <a:pt x="164" y="45"/>
                      <a:pt x="156" y="45"/>
                    </a:cubicBezTo>
                    <a:cubicBezTo>
                      <a:pt x="152" y="45"/>
                      <a:pt x="147" y="44"/>
                      <a:pt x="144" y="42"/>
                    </a:cubicBezTo>
                    <a:cubicBezTo>
                      <a:pt x="141" y="40"/>
                      <a:pt x="139" y="38"/>
                      <a:pt x="137" y="35"/>
                    </a:cubicBezTo>
                    <a:cubicBezTo>
                      <a:pt x="136" y="37"/>
                      <a:pt x="134" y="39"/>
                      <a:pt x="131"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3">
                <a:extLst>
                  <a:ext uri="{FF2B5EF4-FFF2-40B4-BE49-F238E27FC236}">
                    <a16:creationId xmlns:a16="http://schemas.microsoft.com/office/drawing/2014/main" id="{E8664C52-B490-4E4F-B1E9-2A82EC36CA4B}"/>
                  </a:ext>
                </a:extLst>
              </p:cNvPr>
              <p:cNvSpPr>
                <a:spLocks/>
              </p:cNvSpPr>
              <p:nvPr/>
            </p:nvSpPr>
            <p:spPr bwMode="auto">
              <a:xfrm>
                <a:off x="6295" y="1058"/>
                <a:ext cx="348" cy="337"/>
              </a:xfrm>
              <a:custGeom>
                <a:avLst/>
                <a:gdLst>
                  <a:gd name="T0" fmla="*/ 185 w 296"/>
                  <a:gd name="T1" fmla="*/ 1 h 286"/>
                  <a:gd name="T2" fmla="*/ 169 w 296"/>
                  <a:gd name="T3" fmla="*/ 1 h 286"/>
                  <a:gd name="T4" fmla="*/ 136 w 296"/>
                  <a:gd name="T5" fmla="*/ 23 h 286"/>
                  <a:gd name="T6" fmla="*/ 123 w 296"/>
                  <a:gd name="T7" fmla="*/ 28 h 286"/>
                  <a:gd name="T8" fmla="*/ 47 w 296"/>
                  <a:gd name="T9" fmla="*/ 56 h 286"/>
                  <a:gd name="T10" fmla="*/ 0 w 296"/>
                  <a:gd name="T11" fmla="*/ 68 h 286"/>
                  <a:gd name="T12" fmla="*/ 3 w 296"/>
                  <a:gd name="T13" fmla="*/ 155 h 286"/>
                  <a:gd name="T14" fmla="*/ 10 w 296"/>
                  <a:gd name="T15" fmla="*/ 187 h 286"/>
                  <a:gd name="T16" fmla="*/ 14 w 296"/>
                  <a:gd name="T17" fmla="*/ 202 h 286"/>
                  <a:gd name="T18" fmla="*/ 20 w 296"/>
                  <a:gd name="T19" fmla="*/ 223 h 286"/>
                  <a:gd name="T20" fmla="*/ 34 w 296"/>
                  <a:gd name="T21" fmla="*/ 243 h 286"/>
                  <a:gd name="T22" fmla="*/ 32 w 296"/>
                  <a:gd name="T23" fmla="*/ 269 h 286"/>
                  <a:gd name="T24" fmla="*/ 42 w 296"/>
                  <a:gd name="T25" fmla="*/ 286 h 286"/>
                  <a:gd name="T26" fmla="*/ 80 w 296"/>
                  <a:gd name="T27" fmla="*/ 243 h 286"/>
                  <a:gd name="T28" fmla="*/ 114 w 296"/>
                  <a:gd name="T29" fmla="*/ 229 h 286"/>
                  <a:gd name="T30" fmla="*/ 141 w 296"/>
                  <a:gd name="T31" fmla="*/ 206 h 286"/>
                  <a:gd name="T32" fmla="*/ 163 w 296"/>
                  <a:gd name="T33" fmla="*/ 195 h 286"/>
                  <a:gd name="T34" fmla="*/ 182 w 296"/>
                  <a:gd name="T35" fmla="*/ 184 h 286"/>
                  <a:gd name="T36" fmla="*/ 178 w 296"/>
                  <a:gd name="T37" fmla="*/ 171 h 286"/>
                  <a:gd name="T38" fmla="*/ 169 w 296"/>
                  <a:gd name="T39" fmla="*/ 150 h 286"/>
                  <a:gd name="T40" fmla="*/ 185 w 296"/>
                  <a:gd name="T41" fmla="*/ 139 h 286"/>
                  <a:gd name="T42" fmla="*/ 199 w 296"/>
                  <a:gd name="T43" fmla="*/ 144 h 286"/>
                  <a:gd name="T44" fmla="*/ 201 w 296"/>
                  <a:gd name="T45" fmla="*/ 160 h 286"/>
                  <a:gd name="T46" fmla="*/ 210 w 296"/>
                  <a:gd name="T47" fmla="*/ 178 h 286"/>
                  <a:gd name="T48" fmla="*/ 220 w 296"/>
                  <a:gd name="T49" fmla="*/ 167 h 286"/>
                  <a:gd name="T50" fmla="*/ 229 w 296"/>
                  <a:gd name="T51" fmla="*/ 155 h 286"/>
                  <a:gd name="T52" fmla="*/ 221 w 296"/>
                  <a:gd name="T53" fmla="*/ 124 h 286"/>
                  <a:gd name="T54" fmla="*/ 239 w 296"/>
                  <a:gd name="T55" fmla="*/ 115 h 286"/>
                  <a:gd name="T56" fmla="*/ 251 w 296"/>
                  <a:gd name="T57" fmla="*/ 121 h 286"/>
                  <a:gd name="T58" fmla="*/ 259 w 296"/>
                  <a:gd name="T59" fmla="*/ 126 h 286"/>
                  <a:gd name="T60" fmla="*/ 276 w 296"/>
                  <a:gd name="T61" fmla="*/ 117 h 286"/>
                  <a:gd name="T62" fmla="*/ 295 w 296"/>
                  <a:gd name="T63" fmla="*/ 96 h 286"/>
                  <a:gd name="T64" fmla="*/ 273 w 296"/>
                  <a:gd name="T65" fmla="*/ 67 h 286"/>
                  <a:gd name="T66" fmla="*/ 275 w 296"/>
                  <a:gd name="T67" fmla="*/ 72 h 286"/>
                  <a:gd name="T68" fmla="*/ 275 w 296"/>
                  <a:gd name="T69" fmla="*/ 106 h 286"/>
                  <a:gd name="T70" fmla="*/ 259 w 296"/>
                  <a:gd name="T71" fmla="*/ 116 h 286"/>
                  <a:gd name="T72" fmla="*/ 242 w 296"/>
                  <a:gd name="T73" fmla="*/ 104 h 286"/>
                  <a:gd name="T74" fmla="*/ 224 w 296"/>
                  <a:gd name="T75" fmla="*/ 74 h 286"/>
                  <a:gd name="T76" fmla="*/ 202 w 296"/>
                  <a:gd name="T77" fmla="*/ 41 h 286"/>
                  <a:gd name="T78" fmla="*/ 198 w 296"/>
                  <a:gd name="T79" fmla="*/ 2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286">
                    <a:moveTo>
                      <a:pt x="183" y="11"/>
                    </a:moveTo>
                    <a:cubicBezTo>
                      <a:pt x="181" y="6"/>
                      <a:pt x="183" y="3"/>
                      <a:pt x="185" y="1"/>
                    </a:cubicBezTo>
                    <a:cubicBezTo>
                      <a:pt x="185" y="1"/>
                      <a:pt x="185" y="0"/>
                      <a:pt x="185" y="0"/>
                    </a:cubicBezTo>
                    <a:cubicBezTo>
                      <a:pt x="180" y="1"/>
                      <a:pt x="172" y="1"/>
                      <a:pt x="169" y="1"/>
                    </a:cubicBezTo>
                    <a:cubicBezTo>
                      <a:pt x="166" y="2"/>
                      <a:pt x="161" y="7"/>
                      <a:pt x="158" y="12"/>
                    </a:cubicBezTo>
                    <a:cubicBezTo>
                      <a:pt x="155" y="17"/>
                      <a:pt x="147" y="20"/>
                      <a:pt x="136" y="23"/>
                    </a:cubicBezTo>
                    <a:cubicBezTo>
                      <a:pt x="134" y="24"/>
                      <a:pt x="133" y="25"/>
                      <a:pt x="131" y="25"/>
                    </a:cubicBezTo>
                    <a:cubicBezTo>
                      <a:pt x="129" y="26"/>
                      <a:pt x="127" y="27"/>
                      <a:pt x="123" y="28"/>
                    </a:cubicBezTo>
                    <a:cubicBezTo>
                      <a:pt x="115" y="31"/>
                      <a:pt x="103" y="36"/>
                      <a:pt x="100" y="38"/>
                    </a:cubicBezTo>
                    <a:cubicBezTo>
                      <a:pt x="95" y="41"/>
                      <a:pt x="53" y="54"/>
                      <a:pt x="47" y="56"/>
                    </a:cubicBezTo>
                    <a:cubicBezTo>
                      <a:pt x="44" y="58"/>
                      <a:pt x="34" y="64"/>
                      <a:pt x="26" y="63"/>
                    </a:cubicBezTo>
                    <a:cubicBezTo>
                      <a:pt x="23" y="62"/>
                      <a:pt x="9" y="65"/>
                      <a:pt x="0" y="68"/>
                    </a:cubicBezTo>
                    <a:cubicBezTo>
                      <a:pt x="1" y="79"/>
                      <a:pt x="2" y="90"/>
                      <a:pt x="3" y="94"/>
                    </a:cubicBezTo>
                    <a:cubicBezTo>
                      <a:pt x="5" y="101"/>
                      <a:pt x="4" y="146"/>
                      <a:pt x="3" y="155"/>
                    </a:cubicBezTo>
                    <a:cubicBezTo>
                      <a:pt x="2" y="162"/>
                      <a:pt x="8" y="170"/>
                      <a:pt x="9" y="172"/>
                    </a:cubicBezTo>
                    <a:cubicBezTo>
                      <a:pt x="10" y="174"/>
                      <a:pt x="10" y="177"/>
                      <a:pt x="10" y="187"/>
                    </a:cubicBezTo>
                    <a:cubicBezTo>
                      <a:pt x="10" y="190"/>
                      <a:pt x="10" y="194"/>
                      <a:pt x="10" y="195"/>
                    </a:cubicBezTo>
                    <a:cubicBezTo>
                      <a:pt x="10" y="196"/>
                      <a:pt x="13" y="200"/>
                      <a:pt x="14" y="202"/>
                    </a:cubicBezTo>
                    <a:cubicBezTo>
                      <a:pt x="15" y="204"/>
                      <a:pt x="16" y="205"/>
                      <a:pt x="16" y="206"/>
                    </a:cubicBezTo>
                    <a:cubicBezTo>
                      <a:pt x="18" y="209"/>
                      <a:pt x="20" y="219"/>
                      <a:pt x="20" y="223"/>
                    </a:cubicBezTo>
                    <a:cubicBezTo>
                      <a:pt x="20" y="229"/>
                      <a:pt x="20" y="233"/>
                      <a:pt x="21" y="235"/>
                    </a:cubicBezTo>
                    <a:cubicBezTo>
                      <a:pt x="25" y="236"/>
                      <a:pt x="31" y="239"/>
                      <a:pt x="34" y="243"/>
                    </a:cubicBezTo>
                    <a:cubicBezTo>
                      <a:pt x="38" y="247"/>
                      <a:pt x="39" y="251"/>
                      <a:pt x="39" y="255"/>
                    </a:cubicBezTo>
                    <a:cubicBezTo>
                      <a:pt x="38" y="260"/>
                      <a:pt x="35" y="265"/>
                      <a:pt x="32" y="269"/>
                    </a:cubicBezTo>
                    <a:cubicBezTo>
                      <a:pt x="30" y="271"/>
                      <a:pt x="27" y="275"/>
                      <a:pt x="28" y="277"/>
                    </a:cubicBezTo>
                    <a:cubicBezTo>
                      <a:pt x="28" y="279"/>
                      <a:pt x="35" y="283"/>
                      <a:pt x="42" y="286"/>
                    </a:cubicBezTo>
                    <a:cubicBezTo>
                      <a:pt x="42" y="282"/>
                      <a:pt x="43" y="278"/>
                      <a:pt x="43" y="275"/>
                    </a:cubicBezTo>
                    <a:cubicBezTo>
                      <a:pt x="45" y="264"/>
                      <a:pt x="66" y="244"/>
                      <a:pt x="80" y="243"/>
                    </a:cubicBezTo>
                    <a:cubicBezTo>
                      <a:pt x="87" y="242"/>
                      <a:pt x="94" y="238"/>
                      <a:pt x="100" y="235"/>
                    </a:cubicBezTo>
                    <a:cubicBezTo>
                      <a:pt x="105" y="232"/>
                      <a:pt x="109" y="230"/>
                      <a:pt x="114" y="229"/>
                    </a:cubicBezTo>
                    <a:cubicBezTo>
                      <a:pt x="123" y="226"/>
                      <a:pt x="131" y="219"/>
                      <a:pt x="132" y="216"/>
                    </a:cubicBezTo>
                    <a:cubicBezTo>
                      <a:pt x="132" y="213"/>
                      <a:pt x="136" y="210"/>
                      <a:pt x="141" y="206"/>
                    </a:cubicBezTo>
                    <a:cubicBezTo>
                      <a:pt x="143" y="204"/>
                      <a:pt x="146" y="202"/>
                      <a:pt x="147" y="201"/>
                    </a:cubicBezTo>
                    <a:cubicBezTo>
                      <a:pt x="149" y="196"/>
                      <a:pt x="156" y="196"/>
                      <a:pt x="163" y="195"/>
                    </a:cubicBezTo>
                    <a:cubicBezTo>
                      <a:pt x="167" y="195"/>
                      <a:pt x="171" y="194"/>
                      <a:pt x="175" y="193"/>
                    </a:cubicBezTo>
                    <a:cubicBezTo>
                      <a:pt x="182" y="192"/>
                      <a:pt x="182" y="189"/>
                      <a:pt x="182" y="184"/>
                    </a:cubicBezTo>
                    <a:cubicBezTo>
                      <a:pt x="182" y="183"/>
                      <a:pt x="182" y="183"/>
                      <a:pt x="182" y="183"/>
                    </a:cubicBezTo>
                    <a:cubicBezTo>
                      <a:pt x="182" y="178"/>
                      <a:pt x="179" y="172"/>
                      <a:pt x="178" y="171"/>
                    </a:cubicBezTo>
                    <a:cubicBezTo>
                      <a:pt x="178" y="171"/>
                      <a:pt x="178" y="171"/>
                      <a:pt x="178" y="171"/>
                    </a:cubicBezTo>
                    <a:cubicBezTo>
                      <a:pt x="169" y="171"/>
                      <a:pt x="169" y="163"/>
                      <a:pt x="169" y="150"/>
                    </a:cubicBezTo>
                    <a:cubicBezTo>
                      <a:pt x="169" y="140"/>
                      <a:pt x="174" y="138"/>
                      <a:pt x="179" y="138"/>
                    </a:cubicBezTo>
                    <a:cubicBezTo>
                      <a:pt x="181" y="138"/>
                      <a:pt x="183" y="138"/>
                      <a:pt x="185" y="139"/>
                    </a:cubicBezTo>
                    <a:cubicBezTo>
                      <a:pt x="187" y="139"/>
                      <a:pt x="189" y="140"/>
                      <a:pt x="191" y="140"/>
                    </a:cubicBezTo>
                    <a:cubicBezTo>
                      <a:pt x="195" y="140"/>
                      <a:pt x="198" y="142"/>
                      <a:pt x="199" y="144"/>
                    </a:cubicBezTo>
                    <a:cubicBezTo>
                      <a:pt x="202" y="147"/>
                      <a:pt x="201" y="151"/>
                      <a:pt x="201" y="155"/>
                    </a:cubicBezTo>
                    <a:cubicBezTo>
                      <a:pt x="201" y="157"/>
                      <a:pt x="201" y="159"/>
                      <a:pt x="201" y="160"/>
                    </a:cubicBezTo>
                    <a:cubicBezTo>
                      <a:pt x="201" y="165"/>
                      <a:pt x="203" y="168"/>
                      <a:pt x="206" y="173"/>
                    </a:cubicBezTo>
                    <a:cubicBezTo>
                      <a:pt x="207" y="174"/>
                      <a:pt x="209" y="176"/>
                      <a:pt x="210" y="178"/>
                    </a:cubicBezTo>
                    <a:cubicBezTo>
                      <a:pt x="210" y="178"/>
                      <a:pt x="210" y="178"/>
                      <a:pt x="210" y="177"/>
                    </a:cubicBezTo>
                    <a:cubicBezTo>
                      <a:pt x="212" y="174"/>
                      <a:pt x="214" y="169"/>
                      <a:pt x="220" y="167"/>
                    </a:cubicBezTo>
                    <a:cubicBezTo>
                      <a:pt x="224" y="165"/>
                      <a:pt x="225" y="163"/>
                      <a:pt x="227" y="160"/>
                    </a:cubicBezTo>
                    <a:cubicBezTo>
                      <a:pt x="227" y="158"/>
                      <a:pt x="228" y="157"/>
                      <a:pt x="229" y="155"/>
                    </a:cubicBezTo>
                    <a:cubicBezTo>
                      <a:pt x="232" y="151"/>
                      <a:pt x="225" y="137"/>
                      <a:pt x="222" y="133"/>
                    </a:cubicBezTo>
                    <a:cubicBezTo>
                      <a:pt x="220" y="130"/>
                      <a:pt x="220" y="127"/>
                      <a:pt x="221" y="124"/>
                    </a:cubicBezTo>
                    <a:cubicBezTo>
                      <a:pt x="223" y="120"/>
                      <a:pt x="228" y="118"/>
                      <a:pt x="233" y="117"/>
                    </a:cubicBezTo>
                    <a:cubicBezTo>
                      <a:pt x="235" y="117"/>
                      <a:pt x="238" y="116"/>
                      <a:pt x="239" y="115"/>
                    </a:cubicBezTo>
                    <a:cubicBezTo>
                      <a:pt x="240" y="114"/>
                      <a:pt x="242" y="113"/>
                      <a:pt x="244" y="113"/>
                    </a:cubicBezTo>
                    <a:cubicBezTo>
                      <a:pt x="248" y="113"/>
                      <a:pt x="249" y="117"/>
                      <a:pt x="251" y="121"/>
                    </a:cubicBezTo>
                    <a:cubicBezTo>
                      <a:pt x="252" y="123"/>
                      <a:pt x="252" y="126"/>
                      <a:pt x="253" y="127"/>
                    </a:cubicBezTo>
                    <a:cubicBezTo>
                      <a:pt x="254" y="127"/>
                      <a:pt x="256" y="127"/>
                      <a:pt x="259" y="126"/>
                    </a:cubicBezTo>
                    <a:cubicBezTo>
                      <a:pt x="262" y="125"/>
                      <a:pt x="265" y="124"/>
                      <a:pt x="268" y="124"/>
                    </a:cubicBezTo>
                    <a:cubicBezTo>
                      <a:pt x="269" y="124"/>
                      <a:pt x="274" y="120"/>
                      <a:pt x="276" y="117"/>
                    </a:cubicBezTo>
                    <a:cubicBezTo>
                      <a:pt x="280" y="114"/>
                      <a:pt x="284" y="110"/>
                      <a:pt x="288" y="108"/>
                    </a:cubicBezTo>
                    <a:cubicBezTo>
                      <a:pt x="292" y="106"/>
                      <a:pt x="295" y="101"/>
                      <a:pt x="295" y="96"/>
                    </a:cubicBezTo>
                    <a:cubicBezTo>
                      <a:pt x="296" y="93"/>
                      <a:pt x="296" y="85"/>
                      <a:pt x="289" y="78"/>
                    </a:cubicBezTo>
                    <a:cubicBezTo>
                      <a:pt x="279" y="68"/>
                      <a:pt x="274" y="67"/>
                      <a:pt x="273" y="67"/>
                    </a:cubicBezTo>
                    <a:cubicBezTo>
                      <a:pt x="272" y="67"/>
                      <a:pt x="271" y="67"/>
                      <a:pt x="271" y="68"/>
                    </a:cubicBezTo>
                    <a:cubicBezTo>
                      <a:pt x="271" y="69"/>
                      <a:pt x="273" y="71"/>
                      <a:pt x="275" y="72"/>
                    </a:cubicBezTo>
                    <a:cubicBezTo>
                      <a:pt x="279" y="76"/>
                      <a:pt x="283" y="79"/>
                      <a:pt x="286" y="85"/>
                    </a:cubicBezTo>
                    <a:cubicBezTo>
                      <a:pt x="292" y="96"/>
                      <a:pt x="281" y="102"/>
                      <a:pt x="275" y="106"/>
                    </a:cubicBezTo>
                    <a:cubicBezTo>
                      <a:pt x="272" y="108"/>
                      <a:pt x="269" y="110"/>
                      <a:pt x="268" y="111"/>
                    </a:cubicBezTo>
                    <a:cubicBezTo>
                      <a:pt x="266" y="115"/>
                      <a:pt x="263" y="116"/>
                      <a:pt x="259" y="116"/>
                    </a:cubicBezTo>
                    <a:cubicBezTo>
                      <a:pt x="253" y="116"/>
                      <a:pt x="245" y="111"/>
                      <a:pt x="243" y="106"/>
                    </a:cubicBezTo>
                    <a:cubicBezTo>
                      <a:pt x="243" y="106"/>
                      <a:pt x="242" y="105"/>
                      <a:pt x="242" y="104"/>
                    </a:cubicBezTo>
                    <a:cubicBezTo>
                      <a:pt x="241" y="100"/>
                      <a:pt x="239" y="96"/>
                      <a:pt x="235" y="94"/>
                    </a:cubicBezTo>
                    <a:cubicBezTo>
                      <a:pt x="227" y="90"/>
                      <a:pt x="223" y="83"/>
                      <a:pt x="224" y="74"/>
                    </a:cubicBezTo>
                    <a:cubicBezTo>
                      <a:pt x="225" y="69"/>
                      <a:pt x="220" y="66"/>
                      <a:pt x="215" y="62"/>
                    </a:cubicBezTo>
                    <a:cubicBezTo>
                      <a:pt x="209" y="58"/>
                      <a:pt x="202" y="48"/>
                      <a:pt x="202" y="41"/>
                    </a:cubicBezTo>
                    <a:cubicBezTo>
                      <a:pt x="202" y="33"/>
                      <a:pt x="200" y="25"/>
                      <a:pt x="199" y="23"/>
                    </a:cubicBezTo>
                    <a:cubicBezTo>
                      <a:pt x="199" y="23"/>
                      <a:pt x="198" y="23"/>
                      <a:pt x="198" y="22"/>
                    </a:cubicBezTo>
                    <a:cubicBezTo>
                      <a:pt x="192" y="20"/>
                      <a:pt x="185" y="18"/>
                      <a:pt x="18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04">
                <a:extLst>
                  <a:ext uri="{FF2B5EF4-FFF2-40B4-BE49-F238E27FC236}">
                    <a16:creationId xmlns:a16="http://schemas.microsoft.com/office/drawing/2014/main" id="{3F4007AD-5D16-4CE6-86F2-F1288E3B38AC}"/>
                  </a:ext>
                </a:extLst>
              </p:cNvPr>
              <p:cNvSpPr>
                <a:spLocks/>
              </p:cNvSpPr>
              <p:nvPr/>
            </p:nvSpPr>
            <p:spPr bwMode="auto">
              <a:xfrm>
                <a:off x="5921" y="1612"/>
                <a:ext cx="431" cy="410"/>
              </a:xfrm>
              <a:custGeom>
                <a:avLst/>
                <a:gdLst>
                  <a:gd name="T0" fmla="*/ 221 w 367"/>
                  <a:gd name="T1" fmla="*/ 0 h 349"/>
                  <a:gd name="T2" fmla="*/ 200 w 367"/>
                  <a:gd name="T3" fmla="*/ 24 h 349"/>
                  <a:gd name="T4" fmla="*/ 0 w 367"/>
                  <a:gd name="T5" fmla="*/ 78 h 349"/>
                  <a:gd name="T6" fmla="*/ 64 w 367"/>
                  <a:gd name="T7" fmla="*/ 123 h 349"/>
                  <a:gd name="T8" fmla="*/ 78 w 367"/>
                  <a:gd name="T9" fmla="*/ 117 h 349"/>
                  <a:gd name="T10" fmla="*/ 91 w 367"/>
                  <a:gd name="T11" fmla="*/ 83 h 349"/>
                  <a:gd name="T12" fmla="*/ 125 w 367"/>
                  <a:gd name="T13" fmla="*/ 96 h 349"/>
                  <a:gd name="T14" fmla="*/ 118 w 367"/>
                  <a:gd name="T15" fmla="*/ 119 h 349"/>
                  <a:gd name="T16" fmla="*/ 132 w 367"/>
                  <a:gd name="T17" fmla="*/ 140 h 349"/>
                  <a:gd name="T18" fmla="*/ 179 w 367"/>
                  <a:gd name="T19" fmla="*/ 181 h 349"/>
                  <a:gd name="T20" fmla="*/ 201 w 367"/>
                  <a:gd name="T21" fmla="*/ 237 h 349"/>
                  <a:gd name="T22" fmla="*/ 239 w 367"/>
                  <a:gd name="T23" fmla="*/ 247 h 349"/>
                  <a:gd name="T24" fmla="*/ 224 w 367"/>
                  <a:gd name="T25" fmla="*/ 240 h 349"/>
                  <a:gd name="T26" fmla="*/ 232 w 367"/>
                  <a:gd name="T27" fmla="*/ 223 h 349"/>
                  <a:gd name="T28" fmla="*/ 213 w 367"/>
                  <a:gd name="T29" fmla="*/ 193 h 349"/>
                  <a:gd name="T30" fmla="*/ 187 w 367"/>
                  <a:gd name="T31" fmla="*/ 128 h 349"/>
                  <a:gd name="T32" fmla="*/ 190 w 367"/>
                  <a:gd name="T33" fmla="*/ 54 h 349"/>
                  <a:gd name="T34" fmla="*/ 207 w 367"/>
                  <a:gd name="T35" fmla="*/ 33 h 349"/>
                  <a:gd name="T36" fmla="*/ 222 w 367"/>
                  <a:gd name="T37" fmla="*/ 59 h 349"/>
                  <a:gd name="T38" fmla="*/ 226 w 367"/>
                  <a:gd name="T39" fmla="*/ 102 h 349"/>
                  <a:gd name="T40" fmla="*/ 254 w 367"/>
                  <a:gd name="T41" fmla="*/ 152 h 349"/>
                  <a:gd name="T42" fmla="*/ 257 w 367"/>
                  <a:gd name="T43" fmla="*/ 191 h 349"/>
                  <a:gd name="T44" fmla="*/ 269 w 367"/>
                  <a:gd name="T45" fmla="*/ 206 h 349"/>
                  <a:gd name="T46" fmla="*/ 304 w 367"/>
                  <a:gd name="T47" fmla="*/ 214 h 349"/>
                  <a:gd name="T48" fmla="*/ 313 w 367"/>
                  <a:gd name="T49" fmla="*/ 252 h 349"/>
                  <a:gd name="T50" fmla="*/ 322 w 367"/>
                  <a:gd name="T51" fmla="*/ 255 h 349"/>
                  <a:gd name="T52" fmla="*/ 329 w 367"/>
                  <a:gd name="T53" fmla="*/ 255 h 349"/>
                  <a:gd name="T54" fmla="*/ 346 w 367"/>
                  <a:gd name="T55" fmla="*/ 288 h 349"/>
                  <a:gd name="T56" fmla="*/ 343 w 367"/>
                  <a:gd name="T57" fmla="*/ 317 h 349"/>
                  <a:gd name="T58" fmla="*/ 333 w 367"/>
                  <a:gd name="T59" fmla="*/ 337 h 349"/>
                  <a:gd name="T60" fmla="*/ 334 w 367"/>
                  <a:gd name="T61" fmla="*/ 348 h 349"/>
                  <a:gd name="T62" fmla="*/ 349 w 367"/>
                  <a:gd name="T63" fmla="*/ 328 h 349"/>
                  <a:gd name="T64" fmla="*/ 361 w 367"/>
                  <a:gd name="T65" fmla="*/ 264 h 349"/>
                  <a:gd name="T66" fmla="*/ 366 w 367"/>
                  <a:gd name="T67" fmla="*/ 242 h 349"/>
                  <a:gd name="T68" fmla="*/ 364 w 367"/>
                  <a:gd name="T69" fmla="*/ 198 h 349"/>
                  <a:gd name="T70" fmla="*/ 318 w 367"/>
                  <a:gd name="T71" fmla="*/ 120 h 349"/>
                  <a:gd name="T72" fmla="*/ 296 w 367"/>
                  <a:gd name="T73" fmla="*/ 92 h 349"/>
                  <a:gd name="T74" fmla="*/ 251 w 367"/>
                  <a:gd name="T75" fmla="*/ 3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7" h="349">
                    <a:moveTo>
                      <a:pt x="250" y="39"/>
                    </a:moveTo>
                    <a:cubicBezTo>
                      <a:pt x="250" y="31"/>
                      <a:pt x="236" y="5"/>
                      <a:pt x="221" y="0"/>
                    </a:cubicBezTo>
                    <a:cubicBezTo>
                      <a:pt x="219" y="2"/>
                      <a:pt x="217" y="5"/>
                      <a:pt x="216" y="8"/>
                    </a:cubicBezTo>
                    <a:cubicBezTo>
                      <a:pt x="212" y="13"/>
                      <a:pt x="208" y="20"/>
                      <a:pt x="200" y="24"/>
                    </a:cubicBezTo>
                    <a:cubicBezTo>
                      <a:pt x="186" y="31"/>
                      <a:pt x="141" y="39"/>
                      <a:pt x="136" y="40"/>
                    </a:cubicBezTo>
                    <a:cubicBezTo>
                      <a:pt x="122" y="42"/>
                      <a:pt x="24" y="68"/>
                      <a:pt x="0" y="78"/>
                    </a:cubicBezTo>
                    <a:cubicBezTo>
                      <a:pt x="13" y="82"/>
                      <a:pt x="34" y="92"/>
                      <a:pt x="35" y="108"/>
                    </a:cubicBezTo>
                    <a:cubicBezTo>
                      <a:pt x="41" y="110"/>
                      <a:pt x="57" y="115"/>
                      <a:pt x="64" y="123"/>
                    </a:cubicBezTo>
                    <a:cubicBezTo>
                      <a:pt x="65" y="125"/>
                      <a:pt x="67" y="127"/>
                      <a:pt x="69" y="127"/>
                    </a:cubicBezTo>
                    <a:cubicBezTo>
                      <a:pt x="71" y="126"/>
                      <a:pt x="75" y="124"/>
                      <a:pt x="78" y="117"/>
                    </a:cubicBezTo>
                    <a:cubicBezTo>
                      <a:pt x="79" y="115"/>
                      <a:pt x="80" y="111"/>
                      <a:pt x="81" y="106"/>
                    </a:cubicBezTo>
                    <a:cubicBezTo>
                      <a:pt x="82" y="97"/>
                      <a:pt x="84" y="88"/>
                      <a:pt x="91" y="83"/>
                    </a:cubicBezTo>
                    <a:cubicBezTo>
                      <a:pt x="95" y="81"/>
                      <a:pt x="98" y="81"/>
                      <a:pt x="103" y="82"/>
                    </a:cubicBezTo>
                    <a:cubicBezTo>
                      <a:pt x="115" y="85"/>
                      <a:pt x="122" y="90"/>
                      <a:pt x="125" y="96"/>
                    </a:cubicBezTo>
                    <a:cubicBezTo>
                      <a:pt x="127" y="101"/>
                      <a:pt x="126" y="105"/>
                      <a:pt x="124" y="110"/>
                    </a:cubicBezTo>
                    <a:cubicBezTo>
                      <a:pt x="122" y="114"/>
                      <a:pt x="120" y="117"/>
                      <a:pt x="118" y="119"/>
                    </a:cubicBezTo>
                    <a:cubicBezTo>
                      <a:pt x="116" y="122"/>
                      <a:pt x="114" y="125"/>
                      <a:pt x="114" y="126"/>
                    </a:cubicBezTo>
                    <a:cubicBezTo>
                      <a:pt x="117" y="130"/>
                      <a:pt x="125" y="135"/>
                      <a:pt x="132" y="140"/>
                    </a:cubicBezTo>
                    <a:cubicBezTo>
                      <a:pt x="133" y="141"/>
                      <a:pt x="135" y="141"/>
                      <a:pt x="138" y="143"/>
                    </a:cubicBezTo>
                    <a:cubicBezTo>
                      <a:pt x="151" y="149"/>
                      <a:pt x="176" y="161"/>
                      <a:pt x="179" y="181"/>
                    </a:cubicBezTo>
                    <a:cubicBezTo>
                      <a:pt x="182" y="197"/>
                      <a:pt x="190" y="226"/>
                      <a:pt x="194" y="239"/>
                    </a:cubicBezTo>
                    <a:cubicBezTo>
                      <a:pt x="196" y="238"/>
                      <a:pt x="198" y="237"/>
                      <a:pt x="201" y="237"/>
                    </a:cubicBezTo>
                    <a:cubicBezTo>
                      <a:pt x="203" y="237"/>
                      <a:pt x="206" y="237"/>
                      <a:pt x="208" y="239"/>
                    </a:cubicBezTo>
                    <a:cubicBezTo>
                      <a:pt x="216" y="245"/>
                      <a:pt x="227" y="248"/>
                      <a:pt x="239" y="247"/>
                    </a:cubicBezTo>
                    <a:cubicBezTo>
                      <a:pt x="236" y="246"/>
                      <a:pt x="233" y="244"/>
                      <a:pt x="230" y="244"/>
                    </a:cubicBezTo>
                    <a:cubicBezTo>
                      <a:pt x="226" y="243"/>
                      <a:pt x="225" y="241"/>
                      <a:pt x="224" y="240"/>
                    </a:cubicBezTo>
                    <a:cubicBezTo>
                      <a:pt x="223" y="235"/>
                      <a:pt x="227" y="229"/>
                      <a:pt x="231" y="224"/>
                    </a:cubicBezTo>
                    <a:cubicBezTo>
                      <a:pt x="232" y="223"/>
                      <a:pt x="232" y="223"/>
                      <a:pt x="232" y="223"/>
                    </a:cubicBezTo>
                    <a:cubicBezTo>
                      <a:pt x="232" y="219"/>
                      <a:pt x="223" y="204"/>
                      <a:pt x="214" y="194"/>
                    </a:cubicBezTo>
                    <a:cubicBezTo>
                      <a:pt x="213" y="193"/>
                      <a:pt x="213" y="193"/>
                      <a:pt x="213" y="193"/>
                    </a:cubicBezTo>
                    <a:cubicBezTo>
                      <a:pt x="205" y="184"/>
                      <a:pt x="194" y="171"/>
                      <a:pt x="196" y="157"/>
                    </a:cubicBezTo>
                    <a:cubicBezTo>
                      <a:pt x="196" y="149"/>
                      <a:pt x="192" y="138"/>
                      <a:pt x="187" y="128"/>
                    </a:cubicBezTo>
                    <a:cubicBezTo>
                      <a:pt x="186" y="124"/>
                      <a:pt x="184" y="121"/>
                      <a:pt x="183" y="117"/>
                    </a:cubicBezTo>
                    <a:cubicBezTo>
                      <a:pt x="169" y="78"/>
                      <a:pt x="181" y="65"/>
                      <a:pt x="190" y="54"/>
                    </a:cubicBezTo>
                    <a:cubicBezTo>
                      <a:pt x="194" y="50"/>
                      <a:pt x="197" y="47"/>
                      <a:pt x="198" y="42"/>
                    </a:cubicBezTo>
                    <a:cubicBezTo>
                      <a:pt x="200" y="36"/>
                      <a:pt x="203" y="33"/>
                      <a:pt x="207" y="33"/>
                    </a:cubicBezTo>
                    <a:cubicBezTo>
                      <a:pt x="210" y="33"/>
                      <a:pt x="212" y="34"/>
                      <a:pt x="214" y="37"/>
                    </a:cubicBezTo>
                    <a:cubicBezTo>
                      <a:pt x="219" y="43"/>
                      <a:pt x="223" y="54"/>
                      <a:pt x="222" y="59"/>
                    </a:cubicBezTo>
                    <a:cubicBezTo>
                      <a:pt x="221" y="64"/>
                      <a:pt x="219" y="78"/>
                      <a:pt x="219" y="83"/>
                    </a:cubicBezTo>
                    <a:cubicBezTo>
                      <a:pt x="224" y="87"/>
                      <a:pt x="230" y="94"/>
                      <a:pt x="226" y="102"/>
                    </a:cubicBezTo>
                    <a:cubicBezTo>
                      <a:pt x="224" y="106"/>
                      <a:pt x="230" y="118"/>
                      <a:pt x="241" y="132"/>
                    </a:cubicBezTo>
                    <a:cubicBezTo>
                      <a:pt x="246" y="139"/>
                      <a:pt x="250" y="145"/>
                      <a:pt x="254" y="152"/>
                    </a:cubicBezTo>
                    <a:cubicBezTo>
                      <a:pt x="257" y="156"/>
                      <a:pt x="259" y="161"/>
                      <a:pt x="263" y="166"/>
                    </a:cubicBezTo>
                    <a:cubicBezTo>
                      <a:pt x="272" y="180"/>
                      <a:pt x="262" y="187"/>
                      <a:pt x="257" y="191"/>
                    </a:cubicBezTo>
                    <a:cubicBezTo>
                      <a:pt x="255" y="192"/>
                      <a:pt x="254" y="193"/>
                      <a:pt x="254" y="194"/>
                    </a:cubicBezTo>
                    <a:cubicBezTo>
                      <a:pt x="254" y="194"/>
                      <a:pt x="257" y="199"/>
                      <a:pt x="269" y="206"/>
                    </a:cubicBezTo>
                    <a:cubicBezTo>
                      <a:pt x="273" y="209"/>
                      <a:pt x="280" y="210"/>
                      <a:pt x="286" y="210"/>
                    </a:cubicBezTo>
                    <a:cubicBezTo>
                      <a:pt x="293" y="211"/>
                      <a:pt x="299" y="212"/>
                      <a:pt x="304" y="214"/>
                    </a:cubicBezTo>
                    <a:cubicBezTo>
                      <a:pt x="314" y="219"/>
                      <a:pt x="314" y="237"/>
                      <a:pt x="313" y="248"/>
                    </a:cubicBezTo>
                    <a:cubicBezTo>
                      <a:pt x="313" y="250"/>
                      <a:pt x="313" y="251"/>
                      <a:pt x="313" y="252"/>
                    </a:cubicBezTo>
                    <a:cubicBezTo>
                      <a:pt x="313" y="254"/>
                      <a:pt x="314" y="254"/>
                      <a:pt x="314" y="255"/>
                    </a:cubicBezTo>
                    <a:cubicBezTo>
                      <a:pt x="316" y="255"/>
                      <a:pt x="319" y="255"/>
                      <a:pt x="322" y="255"/>
                    </a:cubicBezTo>
                    <a:cubicBezTo>
                      <a:pt x="325" y="255"/>
                      <a:pt x="325" y="255"/>
                      <a:pt x="325" y="255"/>
                    </a:cubicBezTo>
                    <a:cubicBezTo>
                      <a:pt x="326" y="255"/>
                      <a:pt x="328" y="255"/>
                      <a:pt x="329" y="255"/>
                    </a:cubicBezTo>
                    <a:cubicBezTo>
                      <a:pt x="342" y="255"/>
                      <a:pt x="344" y="273"/>
                      <a:pt x="345" y="283"/>
                    </a:cubicBezTo>
                    <a:cubicBezTo>
                      <a:pt x="345" y="285"/>
                      <a:pt x="345" y="287"/>
                      <a:pt x="346" y="288"/>
                    </a:cubicBezTo>
                    <a:cubicBezTo>
                      <a:pt x="346" y="293"/>
                      <a:pt x="345" y="300"/>
                      <a:pt x="345" y="306"/>
                    </a:cubicBezTo>
                    <a:cubicBezTo>
                      <a:pt x="344" y="310"/>
                      <a:pt x="343" y="314"/>
                      <a:pt x="343" y="317"/>
                    </a:cubicBezTo>
                    <a:cubicBezTo>
                      <a:pt x="343" y="323"/>
                      <a:pt x="340" y="326"/>
                      <a:pt x="338" y="329"/>
                    </a:cubicBezTo>
                    <a:cubicBezTo>
                      <a:pt x="335" y="332"/>
                      <a:pt x="333" y="334"/>
                      <a:pt x="333" y="337"/>
                    </a:cubicBezTo>
                    <a:cubicBezTo>
                      <a:pt x="332" y="344"/>
                      <a:pt x="329" y="347"/>
                      <a:pt x="327" y="349"/>
                    </a:cubicBezTo>
                    <a:cubicBezTo>
                      <a:pt x="329" y="349"/>
                      <a:pt x="331" y="348"/>
                      <a:pt x="334" y="348"/>
                    </a:cubicBezTo>
                    <a:cubicBezTo>
                      <a:pt x="335" y="347"/>
                      <a:pt x="337" y="347"/>
                      <a:pt x="339" y="347"/>
                    </a:cubicBezTo>
                    <a:cubicBezTo>
                      <a:pt x="341" y="346"/>
                      <a:pt x="346" y="333"/>
                      <a:pt x="349" y="328"/>
                    </a:cubicBezTo>
                    <a:cubicBezTo>
                      <a:pt x="351" y="322"/>
                      <a:pt x="353" y="318"/>
                      <a:pt x="354" y="315"/>
                    </a:cubicBezTo>
                    <a:cubicBezTo>
                      <a:pt x="358" y="309"/>
                      <a:pt x="361" y="281"/>
                      <a:pt x="361" y="264"/>
                    </a:cubicBezTo>
                    <a:cubicBezTo>
                      <a:pt x="361" y="251"/>
                      <a:pt x="363" y="247"/>
                      <a:pt x="365" y="244"/>
                    </a:cubicBezTo>
                    <a:cubicBezTo>
                      <a:pt x="365" y="243"/>
                      <a:pt x="365" y="243"/>
                      <a:pt x="366" y="242"/>
                    </a:cubicBezTo>
                    <a:cubicBezTo>
                      <a:pt x="366" y="239"/>
                      <a:pt x="367" y="223"/>
                      <a:pt x="364" y="217"/>
                    </a:cubicBezTo>
                    <a:cubicBezTo>
                      <a:pt x="363" y="212"/>
                      <a:pt x="363" y="206"/>
                      <a:pt x="364" y="198"/>
                    </a:cubicBezTo>
                    <a:cubicBezTo>
                      <a:pt x="364" y="191"/>
                      <a:pt x="365" y="182"/>
                      <a:pt x="364" y="172"/>
                    </a:cubicBezTo>
                    <a:cubicBezTo>
                      <a:pt x="363" y="154"/>
                      <a:pt x="339" y="129"/>
                      <a:pt x="318" y="120"/>
                    </a:cubicBezTo>
                    <a:cubicBezTo>
                      <a:pt x="298" y="111"/>
                      <a:pt x="296" y="103"/>
                      <a:pt x="296" y="93"/>
                    </a:cubicBezTo>
                    <a:cubicBezTo>
                      <a:pt x="296" y="92"/>
                      <a:pt x="296" y="92"/>
                      <a:pt x="296" y="92"/>
                    </a:cubicBezTo>
                    <a:cubicBezTo>
                      <a:pt x="296" y="87"/>
                      <a:pt x="278" y="68"/>
                      <a:pt x="263" y="58"/>
                    </a:cubicBezTo>
                    <a:cubicBezTo>
                      <a:pt x="255" y="52"/>
                      <a:pt x="251" y="45"/>
                      <a:pt x="251" y="39"/>
                    </a:cubicBezTo>
                    <a:cubicBezTo>
                      <a:pt x="250" y="39"/>
                      <a:pt x="250" y="39"/>
                      <a:pt x="250" y="39"/>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05">
                <a:extLst>
                  <a:ext uri="{FF2B5EF4-FFF2-40B4-BE49-F238E27FC236}">
                    <a16:creationId xmlns:a16="http://schemas.microsoft.com/office/drawing/2014/main" id="{77CD07B3-55AE-47A4-9F86-86BAAEAB09A2}"/>
                  </a:ext>
                </a:extLst>
              </p:cNvPr>
              <p:cNvSpPr>
                <a:spLocks/>
              </p:cNvSpPr>
              <p:nvPr/>
            </p:nvSpPr>
            <p:spPr bwMode="auto">
              <a:xfrm>
                <a:off x="1907" y="2325"/>
                <a:ext cx="727" cy="877"/>
              </a:xfrm>
              <a:custGeom>
                <a:avLst/>
                <a:gdLst>
                  <a:gd name="T0" fmla="*/ 618 w 618"/>
                  <a:gd name="T1" fmla="*/ 43 h 745"/>
                  <a:gd name="T2" fmla="*/ 159 w 618"/>
                  <a:gd name="T3" fmla="*/ 0 h 745"/>
                  <a:gd name="T4" fmla="*/ 137 w 618"/>
                  <a:gd name="T5" fmla="*/ 86 h 745"/>
                  <a:gd name="T6" fmla="*/ 107 w 618"/>
                  <a:gd name="T7" fmla="*/ 88 h 745"/>
                  <a:gd name="T8" fmla="*/ 101 w 618"/>
                  <a:gd name="T9" fmla="*/ 86 h 745"/>
                  <a:gd name="T10" fmla="*/ 93 w 618"/>
                  <a:gd name="T11" fmla="*/ 84 h 745"/>
                  <a:gd name="T12" fmla="*/ 60 w 618"/>
                  <a:gd name="T13" fmla="*/ 80 h 745"/>
                  <a:gd name="T14" fmla="*/ 53 w 618"/>
                  <a:gd name="T15" fmla="*/ 96 h 745"/>
                  <a:gd name="T16" fmla="*/ 53 w 618"/>
                  <a:gd name="T17" fmla="*/ 209 h 745"/>
                  <a:gd name="T18" fmla="*/ 55 w 618"/>
                  <a:gd name="T19" fmla="*/ 223 h 745"/>
                  <a:gd name="T20" fmla="*/ 62 w 618"/>
                  <a:gd name="T21" fmla="*/ 281 h 745"/>
                  <a:gd name="T22" fmla="*/ 69 w 618"/>
                  <a:gd name="T23" fmla="*/ 294 h 745"/>
                  <a:gd name="T24" fmla="*/ 71 w 618"/>
                  <a:gd name="T25" fmla="*/ 323 h 745"/>
                  <a:gd name="T26" fmla="*/ 35 w 618"/>
                  <a:gd name="T27" fmla="*/ 394 h 745"/>
                  <a:gd name="T28" fmla="*/ 17 w 618"/>
                  <a:gd name="T29" fmla="*/ 422 h 745"/>
                  <a:gd name="T30" fmla="*/ 11 w 618"/>
                  <a:gd name="T31" fmla="*/ 431 h 745"/>
                  <a:gd name="T32" fmla="*/ 17 w 618"/>
                  <a:gd name="T33" fmla="*/ 441 h 745"/>
                  <a:gd name="T34" fmla="*/ 26 w 618"/>
                  <a:gd name="T35" fmla="*/ 473 h 745"/>
                  <a:gd name="T36" fmla="*/ 14 w 618"/>
                  <a:gd name="T37" fmla="*/ 511 h 745"/>
                  <a:gd name="T38" fmla="*/ 8 w 618"/>
                  <a:gd name="T39" fmla="*/ 522 h 745"/>
                  <a:gd name="T40" fmla="*/ 4 w 618"/>
                  <a:gd name="T41" fmla="*/ 538 h 745"/>
                  <a:gd name="T42" fmla="*/ 357 w 618"/>
                  <a:gd name="T43" fmla="*/ 741 h 745"/>
                  <a:gd name="T44" fmla="*/ 457 w 618"/>
                  <a:gd name="T45" fmla="*/ 745 h 745"/>
                  <a:gd name="T46" fmla="*/ 556 w 618"/>
                  <a:gd name="T47" fmla="*/ 744 h 745"/>
                  <a:gd name="T48" fmla="*/ 615 w 618"/>
                  <a:gd name="T49" fmla="*/ 82 h 745"/>
                  <a:gd name="T50" fmla="*/ 618 w 618"/>
                  <a:gd name="T51" fmla="*/ 43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8" h="745">
                    <a:moveTo>
                      <a:pt x="618" y="43"/>
                    </a:moveTo>
                    <a:cubicBezTo>
                      <a:pt x="159" y="0"/>
                      <a:pt x="159" y="0"/>
                      <a:pt x="159" y="0"/>
                    </a:cubicBezTo>
                    <a:cubicBezTo>
                      <a:pt x="158" y="18"/>
                      <a:pt x="152" y="75"/>
                      <a:pt x="137" y="86"/>
                    </a:cubicBezTo>
                    <a:cubicBezTo>
                      <a:pt x="123" y="95"/>
                      <a:pt x="115" y="91"/>
                      <a:pt x="107" y="88"/>
                    </a:cubicBezTo>
                    <a:cubicBezTo>
                      <a:pt x="105" y="87"/>
                      <a:pt x="103" y="87"/>
                      <a:pt x="101" y="86"/>
                    </a:cubicBezTo>
                    <a:cubicBezTo>
                      <a:pt x="99" y="86"/>
                      <a:pt x="96" y="85"/>
                      <a:pt x="93" y="84"/>
                    </a:cubicBezTo>
                    <a:cubicBezTo>
                      <a:pt x="84" y="80"/>
                      <a:pt x="68" y="75"/>
                      <a:pt x="60" y="80"/>
                    </a:cubicBezTo>
                    <a:cubicBezTo>
                      <a:pt x="56" y="83"/>
                      <a:pt x="54" y="88"/>
                      <a:pt x="53" y="96"/>
                    </a:cubicBezTo>
                    <a:cubicBezTo>
                      <a:pt x="52" y="133"/>
                      <a:pt x="53" y="204"/>
                      <a:pt x="53" y="209"/>
                    </a:cubicBezTo>
                    <a:cubicBezTo>
                      <a:pt x="55" y="213"/>
                      <a:pt x="55" y="218"/>
                      <a:pt x="55" y="223"/>
                    </a:cubicBezTo>
                    <a:cubicBezTo>
                      <a:pt x="54" y="240"/>
                      <a:pt x="56" y="264"/>
                      <a:pt x="62" y="281"/>
                    </a:cubicBezTo>
                    <a:cubicBezTo>
                      <a:pt x="64" y="286"/>
                      <a:pt x="66" y="290"/>
                      <a:pt x="69" y="294"/>
                    </a:cubicBezTo>
                    <a:cubicBezTo>
                      <a:pt x="74" y="302"/>
                      <a:pt x="80" y="310"/>
                      <a:pt x="71" y="323"/>
                    </a:cubicBezTo>
                    <a:cubicBezTo>
                      <a:pt x="51" y="354"/>
                      <a:pt x="39" y="378"/>
                      <a:pt x="35" y="394"/>
                    </a:cubicBezTo>
                    <a:cubicBezTo>
                      <a:pt x="32" y="409"/>
                      <a:pt x="23" y="416"/>
                      <a:pt x="17" y="422"/>
                    </a:cubicBezTo>
                    <a:cubicBezTo>
                      <a:pt x="12" y="427"/>
                      <a:pt x="10" y="429"/>
                      <a:pt x="11" y="431"/>
                    </a:cubicBezTo>
                    <a:cubicBezTo>
                      <a:pt x="12" y="434"/>
                      <a:pt x="14" y="438"/>
                      <a:pt x="17" y="441"/>
                    </a:cubicBezTo>
                    <a:cubicBezTo>
                      <a:pt x="23" y="450"/>
                      <a:pt x="30" y="460"/>
                      <a:pt x="26" y="473"/>
                    </a:cubicBezTo>
                    <a:cubicBezTo>
                      <a:pt x="20" y="490"/>
                      <a:pt x="15" y="506"/>
                      <a:pt x="14" y="511"/>
                    </a:cubicBezTo>
                    <a:cubicBezTo>
                      <a:pt x="15" y="515"/>
                      <a:pt x="12" y="518"/>
                      <a:pt x="8" y="522"/>
                    </a:cubicBezTo>
                    <a:cubicBezTo>
                      <a:pt x="1" y="532"/>
                      <a:pt x="0" y="535"/>
                      <a:pt x="4" y="538"/>
                    </a:cubicBezTo>
                    <a:cubicBezTo>
                      <a:pt x="18" y="549"/>
                      <a:pt x="313" y="732"/>
                      <a:pt x="357" y="741"/>
                    </a:cubicBezTo>
                    <a:cubicBezTo>
                      <a:pt x="372" y="744"/>
                      <a:pt x="404" y="745"/>
                      <a:pt x="457" y="745"/>
                    </a:cubicBezTo>
                    <a:cubicBezTo>
                      <a:pt x="491" y="745"/>
                      <a:pt x="527" y="745"/>
                      <a:pt x="556" y="744"/>
                    </a:cubicBezTo>
                    <a:cubicBezTo>
                      <a:pt x="615" y="82"/>
                      <a:pt x="615" y="82"/>
                      <a:pt x="615" y="82"/>
                    </a:cubicBezTo>
                    <a:lnTo>
                      <a:pt x="618"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6">
                <a:extLst>
                  <a:ext uri="{FF2B5EF4-FFF2-40B4-BE49-F238E27FC236}">
                    <a16:creationId xmlns:a16="http://schemas.microsoft.com/office/drawing/2014/main" id="{D1B2EDA2-59ED-4465-B62A-C30A764DC7DA}"/>
                  </a:ext>
                </a:extLst>
              </p:cNvPr>
              <p:cNvSpPr>
                <a:spLocks/>
              </p:cNvSpPr>
              <p:nvPr/>
            </p:nvSpPr>
            <p:spPr bwMode="auto">
              <a:xfrm>
                <a:off x="1184" y="814"/>
                <a:ext cx="854" cy="712"/>
              </a:xfrm>
              <a:custGeom>
                <a:avLst/>
                <a:gdLst>
                  <a:gd name="T0" fmla="*/ 331 w 726"/>
                  <a:gd name="T1" fmla="*/ 560 h 605"/>
                  <a:gd name="T2" fmla="*/ 462 w 726"/>
                  <a:gd name="T3" fmla="*/ 580 h 605"/>
                  <a:gd name="T4" fmla="*/ 586 w 726"/>
                  <a:gd name="T5" fmla="*/ 605 h 605"/>
                  <a:gd name="T6" fmla="*/ 585 w 726"/>
                  <a:gd name="T7" fmla="*/ 581 h 605"/>
                  <a:gd name="T8" fmla="*/ 592 w 726"/>
                  <a:gd name="T9" fmla="*/ 542 h 605"/>
                  <a:gd name="T10" fmla="*/ 605 w 726"/>
                  <a:gd name="T11" fmla="*/ 468 h 605"/>
                  <a:gd name="T12" fmla="*/ 622 w 726"/>
                  <a:gd name="T13" fmla="*/ 422 h 605"/>
                  <a:gd name="T14" fmla="*/ 645 w 726"/>
                  <a:gd name="T15" fmla="*/ 362 h 605"/>
                  <a:gd name="T16" fmla="*/ 673 w 726"/>
                  <a:gd name="T17" fmla="*/ 274 h 605"/>
                  <a:gd name="T18" fmla="*/ 718 w 726"/>
                  <a:gd name="T19" fmla="*/ 177 h 605"/>
                  <a:gd name="T20" fmla="*/ 709 w 726"/>
                  <a:gd name="T21" fmla="*/ 169 h 605"/>
                  <a:gd name="T22" fmla="*/ 698 w 726"/>
                  <a:gd name="T23" fmla="*/ 141 h 605"/>
                  <a:gd name="T24" fmla="*/ 652 w 726"/>
                  <a:gd name="T25" fmla="*/ 131 h 605"/>
                  <a:gd name="T26" fmla="*/ 585 w 726"/>
                  <a:gd name="T27" fmla="*/ 117 h 605"/>
                  <a:gd name="T28" fmla="*/ 507 w 726"/>
                  <a:gd name="T29" fmla="*/ 110 h 605"/>
                  <a:gd name="T30" fmla="*/ 398 w 726"/>
                  <a:gd name="T31" fmla="*/ 101 h 605"/>
                  <a:gd name="T32" fmla="*/ 291 w 726"/>
                  <a:gd name="T33" fmla="*/ 85 h 605"/>
                  <a:gd name="T34" fmla="*/ 250 w 726"/>
                  <a:gd name="T35" fmla="*/ 79 h 605"/>
                  <a:gd name="T36" fmla="*/ 225 w 726"/>
                  <a:gd name="T37" fmla="*/ 43 h 605"/>
                  <a:gd name="T38" fmla="*/ 210 w 726"/>
                  <a:gd name="T39" fmla="*/ 18 h 605"/>
                  <a:gd name="T40" fmla="*/ 145 w 726"/>
                  <a:gd name="T41" fmla="*/ 5 h 605"/>
                  <a:gd name="T42" fmla="*/ 143 w 726"/>
                  <a:gd name="T43" fmla="*/ 24 h 605"/>
                  <a:gd name="T44" fmla="*/ 71 w 726"/>
                  <a:gd name="T45" fmla="*/ 222 h 605"/>
                  <a:gd name="T46" fmla="*/ 47 w 726"/>
                  <a:gd name="T47" fmla="*/ 257 h 605"/>
                  <a:gd name="T48" fmla="*/ 17 w 726"/>
                  <a:gd name="T49" fmla="*/ 301 h 605"/>
                  <a:gd name="T50" fmla="*/ 8 w 726"/>
                  <a:gd name="T51" fmla="*/ 398 h 605"/>
                  <a:gd name="T52" fmla="*/ 0 w 726"/>
                  <a:gd name="T53" fmla="*/ 483 h 605"/>
                  <a:gd name="T54" fmla="*/ 129 w 726"/>
                  <a:gd name="T55" fmla="*/ 515 h 605"/>
                  <a:gd name="T56" fmla="*/ 331 w 726"/>
                  <a:gd name="T57" fmla="*/ 56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6" h="605">
                    <a:moveTo>
                      <a:pt x="331" y="560"/>
                    </a:moveTo>
                    <a:cubicBezTo>
                      <a:pt x="397" y="572"/>
                      <a:pt x="444" y="580"/>
                      <a:pt x="462" y="580"/>
                    </a:cubicBezTo>
                    <a:cubicBezTo>
                      <a:pt x="497" y="582"/>
                      <a:pt x="556" y="597"/>
                      <a:pt x="586" y="605"/>
                    </a:cubicBezTo>
                    <a:cubicBezTo>
                      <a:pt x="583" y="599"/>
                      <a:pt x="584" y="591"/>
                      <a:pt x="585" y="581"/>
                    </a:cubicBezTo>
                    <a:cubicBezTo>
                      <a:pt x="586" y="574"/>
                      <a:pt x="589" y="559"/>
                      <a:pt x="592" y="542"/>
                    </a:cubicBezTo>
                    <a:cubicBezTo>
                      <a:pt x="597" y="514"/>
                      <a:pt x="604" y="480"/>
                      <a:pt x="605" y="468"/>
                    </a:cubicBezTo>
                    <a:cubicBezTo>
                      <a:pt x="606" y="448"/>
                      <a:pt x="610" y="436"/>
                      <a:pt x="622" y="422"/>
                    </a:cubicBezTo>
                    <a:cubicBezTo>
                      <a:pt x="631" y="411"/>
                      <a:pt x="646" y="388"/>
                      <a:pt x="645" y="362"/>
                    </a:cubicBezTo>
                    <a:cubicBezTo>
                      <a:pt x="644" y="332"/>
                      <a:pt x="653" y="303"/>
                      <a:pt x="673" y="274"/>
                    </a:cubicBezTo>
                    <a:cubicBezTo>
                      <a:pt x="708" y="225"/>
                      <a:pt x="726" y="185"/>
                      <a:pt x="718" y="177"/>
                    </a:cubicBezTo>
                    <a:cubicBezTo>
                      <a:pt x="715" y="174"/>
                      <a:pt x="712" y="171"/>
                      <a:pt x="709" y="169"/>
                    </a:cubicBezTo>
                    <a:cubicBezTo>
                      <a:pt x="701" y="162"/>
                      <a:pt x="694" y="157"/>
                      <a:pt x="698" y="141"/>
                    </a:cubicBezTo>
                    <a:cubicBezTo>
                      <a:pt x="690" y="140"/>
                      <a:pt x="676" y="137"/>
                      <a:pt x="652" y="131"/>
                    </a:cubicBezTo>
                    <a:cubicBezTo>
                      <a:pt x="629" y="125"/>
                      <a:pt x="604" y="119"/>
                      <a:pt x="585" y="117"/>
                    </a:cubicBezTo>
                    <a:cubicBezTo>
                      <a:pt x="567" y="114"/>
                      <a:pt x="540" y="112"/>
                      <a:pt x="507" y="110"/>
                    </a:cubicBezTo>
                    <a:cubicBezTo>
                      <a:pt x="472" y="108"/>
                      <a:pt x="432" y="105"/>
                      <a:pt x="398" y="101"/>
                    </a:cubicBezTo>
                    <a:cubicBezTo>
                      <a:pt x="360" y="97"/>
                      <a:pt x="320" y="90"/>
                      <a:pt x="291" y="85"/>
                    </a:cubicBezTo>
                    <a:cubicBezTo>
                      <a:pt x="271" y="82"/>
                      <a:pt x="255" y="79"/>
                      <a:pt x="250" y="79"/>
                    </a:cubicBezTo>
                    <a:cubicBezTo>
                      <a:pt x="241" y="79"/>
                      <a:pt x="226" y="74"/>
                      <a:pt x="225" y="43"/>
                    </a:cubicBezTo>
                    <a:cubicBezTo>
                      <a:pt x="225" y="35"/>
                      <a:pt x="219" y="25"/>
                      <a:pt x="210" y="18"/>
                    </a:cubicBezTo>
                    <a:cubicBezTo>
                      <a:pt x="193" y="5"/>
                      <a:pt x="170" y="0"/>
                      <a:pt x="145" y="5"/>
                    </a:cubicBezTo>
                    <a:cubicBezTo>
                      <a:pt x="145" y="10"/>
                      <a:pt x="145" y="17"/>
                      <a:pt x="143" y="24"/>
                    </a:cubicBezTo>
                    <a:cubicBezTo>
                      <a:pt x="139" y="44"/>
                      <a:pt x="79" y="208"/>
                      <a:pt x="71" y="222"/>
                    </a:cubicBezTo>
                    <a:cubicBezTo>
                      <a:pt x="67" y="230"/>
                      <a:pt x="57" y="243"/>
                      <a:pt x="47" y="257"/>
                    </a:cubicBezTo>
                    <a:cubicBezTo>
                      <a:pt x="34" y="273"/>
                      <a:pt x="20" y="292"/>
                      <a:pt x="17" y="301"/>
                    </a:cubicBezTo>
                    <a:cubicBezTo>
                      <a:pt x="10" y="317"/>
                      <a:pt x="5" y="382"/>
                      <a:pt x="8" y="398"/>
                    </a:cubicBezTo>
                    <a:cubicBezTo>
                      <a:pt x="16" y="443"/>
                      <a:pt x="6" y="471"/>
                      <a:pt x="0" y="483"/>
                    </a:cubicBezTo>
                    <a:cubicBezTo>
                      <a:pt x="28" y="484"/>
                      <a:pt x="96" y="504"/>
                      <a:pt x="129" y="515"/>
                    </a:cubicBezTo>
                    <a:cubicBezTo>
                      <a:pt x="149" y="522"/>
                      <a:pt x="241" y="542"/>
                      <a:pt x="331" y="5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7">
                <a:extLst>
                  <a:ext uri="{FF2B5EF4-FFF2-40B4-BE49-F238E27FC236}">
                    <a16:creationId xmlns:a16="http://schemas.microsoft.com/office/drawing/2014/main" id="{B11282CE-C1B2-4EFF-BE8A-D268788A2D26}"/>
                  </a:ext>
                </a:extLst>
              </p:cNvPr>
              <p:cNvSpPr>
                <a:spLocks/>
              </p:cNvSpPr>
              <p:nvPr/>
            </p:nvSpPr>
            <p:spPr bwMode="auto">
              <a:xfrm>
                <a:off x="1090" y="1389"/>
                <a:ext cx="900" cy="1530"/>
              </a:xfrm>
              <a:custGeom>
                <a:avLst/>
                <a:gdLst>
                  <a:gd name="T0" fmla="*/ 698 w 765"/>
                  <a:gd name="T1" fmla="*/ 1228 h 1300"/>
                  <a:gd name="T2" fmla="*/ 722 w 765"/>
                  <a:gd name="T3" fmla="*/ 1188 h 1300"/>
                  <a:gd name="T4" fmla="*/ 757 w 765"/>
                  <a:gd name="T5" fmla="*/ 1094 h 1300"/>
                  <a:gd name="T6" fmla="*/ 742 w 765"/>
                  <a:gd name="T7" fmla="*/ 1018 h 1300"/>
                  <a:gd name="T8" fmla="*/ 735 w 765"/>
                  <a:gd name="T9" fmla="*/ 997 h 1300"/>
                  <a:gd name="T10" fmla="*/ 357 w 765"/>
                  <a:gd name="T11" fmla="*/ 408 h 1300"/>
                  <a:gd name="T12" fmla="*/ 410 w 765"/>
                  <a:gd name="T13" fmla="*/ 78 h 1300"/>
                  <a:gd name="T14" fmla="*/ 76 w 765"/>
                  <a:gd name="T15" fmla="*/ 2 h 1300"/>
                  <a:gd name="T16" fmla="*/ 46 w 765"/>
                  <a:gd name="T17" fmla="*/ 60 h 1300"/>
                  <a:gd name="T18" fmla="*/ 34 w 765"/>
                  <a:gd name="T19" fmla="*/ 90 h 1300"/>
                  <a:gd name="T20" fmla="*/ 11 w 765"/>
                  <a:gd name="T21" fmla="*/ 126 h 1300"/>
                  <a:gd name="T22" fmla="*/ 27 w 765"/>
                  <a:gd name="T23" fmla="*/ 146 h 1300"/>
                  <a:gd name="T24" fmla="*/ 2 w 765"/>
                  <a:gd name="T25" fmla="*/ 190 h 1300"/>
                  <a:gd name="T26" fmla="*/ 19 w 765"/>
                  <a:gd name="T27" fmla="*/ 231 h 1300"/>
                  <a:gd name="T28" fmla="*/ 24 w 765"/>
                  <a:gd name="T29" fmla="*/ 357 h 1300"/>
                  <a:gd name="T30" fmla="*/ 32 w 765"/>
                  <a:gd name="T31" fmla="*/ 385 h 1300"/>
                  <a:gd name="T32" fmla="*/ 43 w 765"/>
                  <a:gd name="T33" fmla="*/ 459 h 1300"/>
                  <a:gd name="T34" fmla="*/ 76 w 765"/>
                  <a:gd name="T35" fmla="*/ 503 h 1300"/>
                  <a:gd name="T36" fmla="*/ 85 w 765"/>
                  <a:gd name="T37" fmla="*/ 503 h 1300"/>
                  <a:gd name="T38" fmla="*/ 125 w 765"/>
                  <a:gd name="T39" fmla="*/ 485 h 1300"/>
                  <a:gd name="T40" fmla="*/ 132 w 765"/>
                  <a:gd name="T41" fmla="*/ 499 h 1300"/>
                  <a:gd name="T42" fmla="*/ 139 w 765"/>
                  <a:gd name="T43" fmla="*/ 511 h 1300"/>
                  <a:gd name="T44" fmla="*/ 152 w 765"/>
                  <a:gd name="T45" fmla="*/ 518 h 1300"/>
                  <a:gd name="T46" fmla="*/ 145 w 765"/>
                  <a:gd name="T47" fmla="*/ 535 h 1300"/>
                  <a:gd name="T48" fmla="*/ 119 w 765"/>
                  <a:gd name="T49" fmla="*/ 527 h 1300"/>
                  <a:gd name="T50" fmla="*/ 109 w 765"/>
                  <a:gd name="T51" fmla="*/ 528 h 1300"/>
                  <a:gd name="T52" fmla="*/ 85 w 765"/>
                  <a:gd name="T53" fmla="*/ 557 h 1300"/>
                  <a:gd name="T54" fmla="*/ 137 w 765"/>
                  <a:gd name="T55" fmla="*/ 648 h 1300"/>
                  <a:gd name="T56" fmla="*/ 150 w 765"/>
                  <a:gd name="T57" fmla="*/ 662 h 1300"/>
                  <a:gd name="T58" fmla="*/ 123 w 765"/>
                  <a:gd name="T59" fmla="*/ 702 h 1300"/>
                  <a:gd name="T60" fmla="*/ 158 w 765"/>
                  <a:gd name="T61" fmla="*/ 802 h 1300"/>
                  <a:gd name="T62" fmla="*/ 211 w 765"/>
                  <a:gd name="T63" fmla="*/ 901 h 1300"/>
                  <a:gd name="T64" fmla="*/ 196 w 765"/>
                  <a:gd name="T65" fmla="*/ 929 h 1300"/>
                  <a:gd name="T66" fmla="*/ 180 w 765"/>
                  <a:gd name="T67" fmla="*/ 961 h 1300"/>
                  <a:gd name="T68" fmla="*/ 200 w 765"/>
                  <a:gd name="T69" fmla="*/ 970 h 1300"/>
                  <a:gd name="T70" fmla="*/ 235 w 765"/>
                  <a:gd name="T71" fmla="*/ 1010 h 1300"/>
                  <a:gd name="T72" fmla="*/ 279 w 765"/>
                  <a:gd name="T73" fmla="*/ 1032 h 1300"/>
                  <a:gd name="T74" fmla="*/ 295 w 765"/>
                  <a:gd name="T75" fmla="*/ 1063 h 1300"/>
                  <a:gd name="T76" fmla="*/ 367 w 765"/>
                  <a:gd name="T77" fmla="*/ 1123 h 1300"/>
                  <a:gd name="T78" fmla="*/ 391 w 765"/>
                  <a:gd name="T79" fmla="*/ 1125 h 1300"/>
                  <a:gd name="T80" fmla="*/ 424 w 765"/>
                  <a:gd name="T81" fmla="*/ 1130 h 1300"/>
                  <a:gd name="T82" fmla="*/ 425 w 765"/>
                  <a:gd name="T83" fmla="*/ 1143 h 1300"/>
                  <a:gd name="T84" fmla="*/ 448 w 765"/>
                  <a:gd name="T85" fmla="*/ 1176 h 1300"/>
                  <a:gd name="T86" fmla="*/ 464 w 765"/>
                  <a:gd name="T87" fmla="*/ 1223 h 1300"/>
                  <a:gd name="T88" fmla="*/ 475 w 765"/>
                  <a:gd name="T89" fmla="*/ 1272 h 1300"/>
                  <a:gd name="T90" fmla="*/ 700 w 765"/>
                  <a:gd name="T91" fmla="*/ 1300 h 1300"/>
                  <a:gd name="T92" fmla="*/ 713 w 765"/>
                  <a:gd name="T93" fmla="*/ 1266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5" h="1300">
                    <a:moveTo>
                      <a:pt x="705" y="1241"/>
                    </a:moveTo>
                    <a:cubicBezTo>
                      <a:pt x="702" y="1237"/>
                      <a:pt x="699" y="1232"/>
                      <a:pt x="698" y="1228"/>
                    </a:cubicBezTo>
                    <a:cubicBezTo>
                      <a:pt x="697" y="1221"/>
                      <a:pt x="702" y="1216"/>
                      <a:pt x="707" y="1211"/>
                    </a:cubicBezTo>
                    <a:cubicBezTo>
                      <a:pt x="712" y="1206"/>
                      <a:pt x="719" y="1199"/>
                      <a:pt x="722" y="1188"/>
                    </a:cubicBezTo>
                    <a:cubicBezTo>
                      <a:pt x="726" y="1170"/>
                      <a:pt x="738" y="1146"/>
                      <a:pt x="760" y="1114"/>
                    </a:cubicBezTo>
                    <a:cubicBezTo>
                      <a:pt x="765" y="1105"/>
                      <a:pt x="763" y="1101"/>
                      <a:pt x="757" y="1094"/>
                    </a:cubicBezTo>
                    <a:cubicBezTo>
                      <a:pt x="755" y="1090"/>
                      <a:pt x="751" y="1085"/>
                      <a:pt x="749" y="1079"/>
                    </a:cubicBezTo>
                    <a:cubicBezTo>
                      <a:pt x="743" y="1061"/>
                      <a:pt x="741" y="1036"/>
                      <a:pt x="742" y="1018"/>
                    </a:cubicBezTo>
                    <a:cubicBezTo>
                      <a:pt x="743" y="1003"/>
                      <a:pt x="736" y="998"/>
                      <a:pt x="736" y="998"/>
                    </a:cubicBezTo>
                    <a:cubicBezTo>
                      <a:pt x="736" y="998"/>
                      <a:pt x="735" y="997"/>
                      <a:pt x="735" y="997"/>
                    </a:cubicBezTo>
                    <a:cubicBezTo>
                      <a:pt x="612" y="816"/>
                      <a:pt x="378" y="472"/>
                      <a:pt x="369" y="463"/>
                    </a:cubicBezTo>
                    <a:cubicBezTo>
                      <a:pt x="357" y="450"/>
                      <a:pt x="348" y="428"/>
                      <a:pt x="357" y="408"/>
                    </a:cubicBezTo>
                    <a:cubicBezTo>
                      <a:pt x="363" y="396"/>
                      <a:pt x="392" y="206"/>
                      <a:pt x="410" y="79"/>
                    </a:cubicBezTo>
                    <a:cubicBezTo>
                      <a:pt x="410" y="78"/>
                      <a:pt x="410" y="78"/>
                      <a:pt x="410" y="78"/>
                    </a:cubicBezTo>
                    <a:cubicBezTo>
                      <a:pt x="329" y="63"/>
                      <a:pt x="228" y="42"/>
                      <a:pt x="206" y="34"/>
                    </a:cubicBezTo>
                    <a:cubicBezTo>
                      <a:pt x="170" y="21"/>
                      <a:pt x="97" y="0"/>
                      <a:pt x="76" y="2"/>
                    </a:cubicBezTo>
                    <a:cubicBezTo>
                      <a:pt x="69" y="16"/>
                      <a:pt x="60" y="34"/>
                      <a:pt x="51" y="41"/>
                    </a:cubicBezTo>
                    <a:cubicBezTo>
                      <a:pt x="45" y="45"/>
                      <a:pt x="45" y="52"/>
                      <a:pt x="46" y="60"/>
                    </a:cubicBezTo>
                    <a:cubicBezTo>
                      <a:pt x="46" y="62"/>
                      <a:pt x="46" y="63"/>
                      <a:pt x="46" y="65"/>
                    </a:cubicBezTo>
                    <a:cubicBezTo>
                      <a:pt x="46" y="75"/>
                      <a:pt x="41" y="81"/>
                      <a:pt x="34" y="90"/>
                    </a:cubicBezTo>
                    <a:cubicBezTo>
                      <a:pt x="32" y="93"/>
                      <a:pt x="32" y="93"/>
                      <a:pt x="32" y="93"/>
                    </a:cubicBezTo>
                    <a:cubicBezTo>
                      <a:pt x="25" y="101"/>
                      <a:pt x="11" y="119"/>
                      <a:pt x="11" y="126"/>
                    </a:cubicBezTo>
                    <a:cubicBezTo>
                      <a:pt x="11" y="128"/>
                      <a:pt x="14" y="130"/>
                      <a:pt x="17" y="132"/>
                    </a:cubicBezTo>
                    <a:cubicBezTo>
                      <a:pt x="22" y="135"/>
                      <a:pt x="27" y="139"/>
                      <a:pt x="27" y="146"/>
                    </a:cubicBezTo>
                    <a:cubicBezTo>
                      <a:pt x="27" y="151"/>
                      <a:pt x="21" y="159"/>
                      <a:pt x="14" y="169"/>
                    </a:cubicBezTo>
                    <a:cubicBezTo>
                      <a:pt x="9" y="176"/>
                      <a:pt x="3" y="185"/>
                      <a:pt x="2" y="190"/>
                    </a:cubicBezTo>
                    <a:cubicBezTo>
                      <a:pt x="0" y="196"/>
                      <a:pt x="7" y="208"/>
                      <a:pt x="12" y="217"/>
                    </a:cubicBezTo>
                    <a:cubicBezTo>
                      <a:pt x="15" y="222"/>
                      <a:pt x="17" y="227"/>
                      <a:pt x="19" y="231"/>
                    </a:cubicBezTo>
                    <a:cubicBezTo>
                      <a:pt x="24" y="245"/>
                      <a:pt x="27" y="271"/>
                      <a:pt x="24" y="294"/>
                    </a:cubicBezTo>
                    <a:cubicBezTo>
                      <a:pt x="22" y="318"/>
                      <a:pt x="23" y="349"/>
                      <a:pt x="24" y="357"/>
                    </a:cubicBezTo>
                    <a:cubicBezTo>
                      <a:pt x="25" y="360"/>
                      <a:pt x="26" y="363"/>
                      <a:pt x="28" y="366"/>
                    </a:cubicBezTo>
                    <a:cubicBezTo>
                      <a:pt x="30" y="372"/>
                      <a:pt x="32" y="378"/>
                      <a:pt x="32" y="385"/>
                    </a:cubicBezTo>
                    <a:cubicBezTo>
                      <a:pt x="32" y="396"/>
                      <a:pt x="33" y="403"/>
                      <a:pt x="35" y="408"/>
                    </a:cubicBezTo>
                    <a:cubicBezTo>
                      <a:pt x="39" y="414"/>
                      <a:pt x="42" y="442"/>
                      <a:pt x="43" y="459"/>
                    </a:cubicBezTo>
                    <a:cubicBezTo>
                      <a:pt x="44" y="472"/>
                      <a:pt x="57" y="485"/>
                      <a:pt x="68" y="495"/>
                    </a:cubicBezTo>
                    <a:cubicBezTo>
                      <a:pt x="71" y="498"/>
                      <a:pt x="74" y="501"/>
                      <a:pt x="76" y="503"/>
                    </a:cubicBezTo>
                    <a:cubicBezTo>
                      <a:pt x="79" y="507"/>
                      <a:pt x="81" y="508"/>
                      <a:pt x="82" y="508"/>
                    </a:cubicBezTo>
                    <a:cubicBezTo>
                      <a:pt x="82" y="508"/>
                      <a:pt x="84" y="505"/>
                      <a:pt x="85" y="503"/>
                    </a:cubicBezTo>
                    <a:cubicBezTo>
                      <a:pt x="85" y="502"/>
                      <a:pt x="86" y="501"/>
                      <a:pt x="86" y="500"/>
                    </a:cubicBezTo>
                    <a:cubicBezTo>
                      <a:pt x="93" y="486"/>
                      <a:pt x="117" y="485"/>
                      <a:pt x="125" y="485"/>
                    </a:cubicBezTo>
                    <a:cubicBezTo>
                      <a:pt x="128" y="485"/>
                      <a:pt x="130" y="486"/>
                      <a:pt x="131" y="488"/>
                    </a:cubicBezTo>
                    <a:cubicBezTo>
                      <a:pt x="134" y="491"/>
                      <a:pt x="133" y="495"/>
                      <a:pt x="132" y="499"/>
                    </a:cubicBezTo>
                    <a:cubicBezTo>
                      <a:pt x="131" y="501"/>
                      <a:pt x="131" y="504"/>
                      <a:pt x="131" y="506"/>
                    </a:cubicBezTo>
                    <a:cubicBezTo>
                      <a:pt x="131" y="509"/>
                      <a:pt x="131" y="510"/>
                      <a:pt x="139" y="511"/>
                    </a:cubicBezTo>
                    <a:cubicBezTo>
                      <a:pt x="141" y="511"/>
                      <a:pt x="143" y="512"/>
                      <a:pt x="145" y="512"/>
                    </a:cubicBezTo>
                    <a:cubicBezTo>
                      <a:pt x="149" y="513"/>
                      <a:pt x="151" y="515"/>
                      <a:pt x="152" y="518"/>
                    </a:cubicBezTo>
                    <a:cubicBezTo>
                      <a:pt x="154" y="523"/>
                      <a:pt x="150" y="529"/>
                      <a:pt x="146" y="534"/>
                    </a:cubicBezTo>
                    <a:cubicBezTo>
                      <a:pt x="145" y="535"/>
                      <a:pt x="145" y="535"/>
                      <a:pt x="145" y="535"/>
                    </a:cubicBezTo>
                    <a:cubicBezTo>
                      <a:pt x="143" y="538"/>
                      <a:pt x="140" y="539"/>
                      <a:pt x="137" y="539"/>
                    </a:cubicBezTo>
                    <a:cubicBezTo>
                      <a:pt x="131" y="539"/>
                      <a:pt x="125" y="534"/>
                      <a:pt x="119" y="527"/>
                    </a:cubicBezTo>
                    <a:cubicBezTo>
                      <a:pt x="117" y="526"/>
                      <a:pt x="117" y="526"/>
                      <a:pt x="116" y="526"/>
                    </a:cubicBezTo>
                    <a:cubicBezTo>
                      <a:pt x="114" y="526"/>
                      <a:pt x="112" y="527"/>
                      <a:pt x="109" y="528"/>
                    </a:cubicBezTo>
                    <a:cubicBezTo>
                      <a:pt x="107" y="529"/>
                      <a:pt x="104" y="530"/>
                      <a:pt x="101" y="531"/>
                    </a:cubicBezTo>
                    <a:cubicBezTo>
                      <a:pt x="94" y="532"/>
                      <a:pt x="86" y="544"/>
                      <a:pt x="85" y="557"/>
                    </a:cubicBezTo>
                    <a:cubicBezTo>
                      <a:pt x="83" y="571"/>
                      <a:pt x="96" y="608"/>
                      <a:pt x="103" y="623"/>
                    </a:cubicBezTo>
                    <a:cubicBezTo>
                      <a:pt x="108" y="634"/>
                      <a:pt x="126" y="643"/>
                      <a:pt x="137" y="648"/>
                    </a:cubicBezTo>
                    <a:cubicBezTo>
                      <a:pt x="140" y="650"/>
                      <a:pt x="142" y="651"/>
                      <a:pt x="143" y="651"/>
                    </a:cubicBezTo>
                    <a:cubicBezTo>
                      <a:pt x="149" y="655"/>
                      <a:pt x="150" y="659"/>
                      <a:pt x="150" y="662"/>
                    </a:cubicBezTo>
                    <a:cubicBezTo>
                      <a:pt x="149" y="670"/>
                      <a:pt x="140" y="677"/>
                      <a:pt x="134" y="679"/>
                    </a:cubicBezTo>
                    <a:cubicBezTo>
                      <a:pt x="127" y="682"/>
                      <a:pt x="123" y="693"/>
                      <a:pt x="123" y="702"/>
                    </a:cubicBezTo>
                    <a:cubicBezTo>
                      <a:pt x="123" y="707"/>
                      <a:pt x="131" y="728"/>
                      <a:pt x="138" y="746"/>
                    </a:cubicBezTo>
                    <a:cubicBezTo>
                      <a:pt x="146" y="766"/>
                      <a:pt x="154" y="787"/>
                      <a:pt x="158" y="802"/>
                    </a:cubicBezTo>
                    <a:cubicBezTo>
                      <a:pt x="165" y="831"/>
                      <a:pt x="188" y="872"/>
                      <a:pt x="200" y="883"/>
                    </a:cubicBezTo>
                    <a:cubicBezTo>
                      <a:pt x="208" y="890"/>
                      <a:pt x="211" y="896"/>
                      <a:pt x="211" y="901"/>
                    </a:cubicBezTo>
                    <a:cubicBezTo>
                      <a:pt x="211" y="905"/>
                      <a:pt x="209" y="908"/>
                      <a:pt x="205" y="911"/>
                    </a:cubicBezTo>
                    <a:cubicBezTo>
                      <a:pt x="202" y="913"/>
                      <a:pt x="198" y="923"/>
                      <a:pt x="196" y="929"/>
                    </a:cubicBezTo>
                    <a:cubicBezTo>
                      <a:pt x="195" y="931"/>
                      <a:pt x="193" y="935"/>
                      <a:pt x="190" y="939"/>
                    </a:cubicBezTo>
                    <a:cubicBezTo>
                      <a:pt x="186" y="946"/>
                      <a:pt x="180" y="954"/>
                      <a:pt x="180" y="961"/>
                    </a:cubicBezTo>
                    <a:cubicBezTo>
                      <a:pt x="180" y="961"/>
                      <a:pt x="182" y="964"/>
                      <a:pt x="194" y="968"/>
                    </a:cubicBezTo>
                    <a:cubicBezTo>
                      <a:pt x="197" y="968"/>
                      <a:pt x="199" y="969"/>
                      <a:pt x="200" y="970"/>
                    </a:cubicBezTo>
                    <a:cubicBezTo>
                      <a:pt x="203" y="971"/>
                      <a:pt x="208" y="977"/>
                      <a:pt x="218" y="989"/>
                    </a:cubicBezTo>
                    <a:cubicBezTo>
                      <a:pt x="223" y="996"/>
                      <a:pt x="229" y="1003"/>
                      <a:pt x="235" y="1010"/>
                    </a:cubicBezTo>
                    <a:cubicBezTo>
                      <a:pt x="243" y="1018"/>
                      <a:pt x="251" y="1021"/>
                      <a:pt x="260" y="1023"/>
                    </a:cubicBezTo>
                    <a:cubicBezTo>
                      <a:pt x="267" y="1025"/>
                      <a:pt x="274" y="1027"/>
                      <a:pt x="279" y="1032"/>
                    </a:cubicBezTo>
                    <a:cubicBezTo>
                      <a:pt x="285" y="1038"/>
                      <a:pt x="287" y="1044"/>
                      <a:pt x="288" y="1049"/>
                    </a:cubicBezTo>
                    <a:cubicBezTo>
                      <a:pt x="289" y="1054"/>
                      <a:pt x="290" y="1058"/>
                      <a:pt x="295" y="1063"/>
                    </a:cubicBezTo>
                    <a:cubicBezTo>
                      <a:pt x="299" y="1068"/>
                      <a:pt x="313" y="1079"/>
                      <a:pt x="327" y="1089"/>
                    </a:cubicBezTo>
                    <a:cubicBezTo>
                      <a:pt x="353" y="1108"/>
                      <a:pt x="365" y="1118"/>
                      <a:pt x="367" y="1123"/>
                    </a:cubicBezTo>
                    <a:cubicBezTo>
                      <a:pt x="367" y="1123"/>
                      <a:pt x="368" y="1125"/>
                      <a:pt x="379" y="1125"/>
                    </a:cubicBezTo>
                    <a:cubicBezTo>
                      <a:pt x="383" y="1125"/>
                      <a:pt x="387" y="1125"/>
                      <a:pt x="391" y="1125"/>
                    </a:cubicBezTo>
                    <a:cubicBezTo>
                      <a:pt x="398" y="1124"/>
                      <a:pt x="406" y="1124"/>
                      <a:pt x="411" y="1125"/>
                    </a:cubicBezTo>
                    <a:cubicBezTo>
                      <a:pt x="418" y="1126"/>
                      <a:pt x="422" y="1127"/>
                      <a:pt x="424" y="1130"/>
                    </a:cubicBezTo>
                    <a:cubicBezTo>
                      <a:pt x="426" y="1133"/>
                      <a:pt x="426" y="1137"/>
                      <a:pt x="426" y="1140"/>
                    </a:cubicBezTo>
                    <a:cubicBezTo>
                      <a:pt x="425" y="1141"/>
                      <a:pt x="425" y="1142"/>
                      <a:pt x="425" y="1143"/>
                    </a:cubicBezTo>
                    <a:cubicBezTo>
                      <a:pt x="425" y="1147"/>
                      <a:pt x="428" y="1155"/>
                      <a:pt x="436" y="1163"/>
                    </a:cubicBezTo>
                    <a:cubicBezTo>
                      <a:pt x="440" y="1167"/>
                      <a:pt x="444" y="1171"/>
                      <a:pt x="448" y="1176"/>
                    </a:cubicBezTo>
                    <a:cubicBezTo>
                      <a:pt x="453" y="1182"/>
                      <a:pt x="458" y="1188"/>
                      <a:pt x="464" y="1193"/>
                    </a:cubicBezTo>
                    <a:cubicBezTo>
                      <a:pt x="472" y="1202"/>
                      <a:pt x="468" y="1213"/>
                      <a:pt x="464" y="1223"/>
                    </a:cubicBezTo>
                    <a:cubicBezTo>
                      <a:pt x="461" y="1230"/>
                      <a:pt x="459" y="1236"/>
                      <a:pt x="459" y="1242"/>
                    </a:cubicBezTo>
                    <a:cubicBezTo>
                      <a:pt x="459" y="1256"/>
                      <a:pt x="463" y="1271"/>
                      <a:pt x="475" y="1272"/>
                    </a:cubicBezTo>
                    <a:cubicBezTo>
                      <a:pt x="480" y="1273"/>
                      <a:pt x="505" y="1276"/>
                      <a:pt x="537" y="1280"/>
                    </a:cubicBezTo>
                    <a:cubicBezTo>
                      <a:pt x="601" y="1288"/>
                      <a:pt x="688" y="1299"/>
                      <a:pt x="700" y="1300"/>
                    </a:cubicBezTo>
                    <a:cubicBezTo>
                      <a:pt x="701" y="1300"/>
                      <a:pt x="701" y="1300"/>
                      <a:pt x="702" y="1300"/>
                    </a:cubicBezTo>
                    <a:cubicBezTo>
                      <a:pt x="704" y="1293"/>
                      <a:pt x="708" y="1280"/>
                      <a:pt x="713" y="1266"/>
                    </a:cubicBezTo>
                    <a:cubicBezTo>
                      <a:pt x="716" y="1256"/>
                      <a:pt x="711" y="1248"/>
                      <a:pt x="705" y="12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108">
                <a:extLst>
                  <a:ext uri="{FF2B5EF4-FFF2-40B4-BE49-F238E27FC236}">
                    <a16:creationId xmlns:a16="http://schemas.microsoft.com/office/drawing/2014/main" id="{770E4D12-2CEB-49BB-BCA4-07A6EC74C49B}"/>
                  </a:ext>
                </a:extLst>
              </p:cNvPr>
              <p:cNvSpPr>
                <a:spLocks/>
              </p:cNvSpPr>
              <p:nvPr/>
            </p:nvSpPr>
            <p:spPr bwMode="auto">
              <a:xfrm>
                <a:off x="1879" y="603"/>
                <a:ext cx="629" cy="986"/>
              </a:xfrm>
              <a:custGeom>
                <a:avLst/>
                <a:gdLst>
                  <a:gd name="T0" fmla="*/ 116 w 535"/>
                  <a:gd name="T1" fmla="*/ 317 h 838"/>
                  <a:gd name="T2" fmla="*/ 123 w 535"/>
                  <a:gd name="T3" fmla="*/ 342 h 838"/>
                  <a:gd name="T4" fmla="*/ 132 w 535"/>
                  <a:gd name="T5" fmla="*/ 350 h 838"/>
                  <a:gd name="T6" fmla="*/ 89 w 535"/>
                  <a:gd name="T7" fmla="*/ 458 h 838"/>
                  <a:gd name="T8" fmla="*/ 62 w 535"/>
                  <a:gd name="T9" fmla="*/ 541 h 838"/>
                  <a:gd name="T10" fmla="*/ 37 w 535"/>
                  <a:gd name="T11" fmla="*/ 606 h 838"/>
                  <a:gd name="T12" fmla="*/ 22 w 535"/>
                  <a:gd name="T13" fmla="*/ 648 h 838"/>
                  <a:gd name="T14" fmla="*/ 9 w 535"/>
                  <a:gd name="T15" fmla="*/ 722 h 838"/>
                  <a:gd name="T16" fmla="*/ 2 w 535"/>
                  <a:gd name="T17" fmla="*/ 761 h 838"/>
                  <a:gd name="T18" fmla="*/ 13 w 535"/>
                  <a:gd name="T19" fmla="*/ 789 h 838"/>
                  <a:gd name="T20" fmla="*/ 255 w 535"/>
                  <a:gd name="T21" fmla="*/ 819 h 838"/>
                  <a:gd name="T22" fmla="*/ 255 w 535"/>
                  <a:gd name="T23" fmla="*/ 819 h 838"/>
                  <a:gd name="T24" fmla="*/ 256 w 535"/>
                  <a:gd name="T25" fmla="*/ 819 h 838"/>
                  <a:gd name="T26" fmla="*/ 521 w 535"/>
                  <a:gd name="T27" fmla="*/ 838 h 838"/>
                  <a:gd name="T28" fmla="*/ 535 w 535"/>
                  <a:gd name="T29" fmla="*/ 602 h 838"/>
                  <a:gd name="T30" fmla="*/ 535 w 535"/>
                  <a:gd name="T31" fmla="*/ 602 h 838"/>
                  <a:gd name="T32" fmla="*/ 533 w 535"/>
                  <a:gd name="T33" fmla="*/ 595 h 838"/>
                  <a:gd name="T34" fmla="*/ 522 w 535"/>
                  <a:gd name="T35" fmla="*/ 594 h 838"/>
                  <a:gd name="T36" fmla="*/ 517 w 535"/>
                  <a:gd name="T37" fmla="*/ 594 h 838"/>
                  <a:gd name="T38" fmla="*/ 476 w 535"/>
                  <a:gd name="T39" fmla="*/ 591 h 838"/>
                  <a:gd name="T40" fmla="*/ 436 w 535"/>
                  <a:gd name="T41" fmla="*/ 588 h 838"/>
                  <a:gd name="T42" fmla="*/ 395 w 535"/>
                  <a:gd name="T43" fmla="*/ 578 h 838"/>
                  <a:gd name="T44" fmla="*/ 393 w 535"/>
                  <a:gd name="T45" fmla="*/ 577 h 838"/>
                  <a:gd name="T46" fmla="*/ 379 w 535"/>
                  <a:gd name="T47" fmla="*/ 548 h 838"/>
                  <a:gd name="T48" fmla="*/ 373 w 535"/>
                  <a:gd name="T49" fmla="*/ 529 h 838"/>
                  <a:gd name="T50" fmla="*/ 366 w 535"/>
                  <a:gd name="T51" fmla="*/ 500 h 838"/>
                  <a:gd name="T52" fmla="*/ 357 w 535"/>
                  <a:gd name="T53" fmla="*/ 478 h 838"/>
                  <a:gd name="T54" fmla="*/ 345 w 535"/>
                  <a:gd name="T55" fmla="*/ 435 h 838"/>
                  <a:gd name="T56" fmla="*/ 345 w 535"/>
                  <a:gd name="T57" fmla="*/ 429 h 838"/>
                  <a:gd name="T58" fmla="*/ 338 w 535"/>
                  <a:gd name="T59" fmla="*/ 410 h 838"/>
                  <a:gd name="T60" fmla="*/ 330 w 535"/>
                  <a:gd name="T61" fmla="*/ 406 h 838"/>
                  <a:gd name="T62" fmla="*/ 341 w 535"/>
                  <a:gd name="T63" fmla="*/ 322 h 838"/>
                  <a:gd name="T64" fmla="*/ 344 w 535"/>
                  <a:gd name="T65" fmla="*/ 308 h 838"/>
                  <a:gd name="T66" fmla="*/ 345 w 535"/>
                  <a:gd name="T67" fmla="*/ 301 h 838"/>
                  <a:gd name="T68" fmla="*/ 340 w 535"/>
                  <a:gd name="T69" fmla="*/ 301 h 838"/>
                  <a:gd name="T70" fmla="*/ 325 w 535"/>
                  <a:gd name="T71" fmla="*/ 297 h 838"/>
                  <a:gd name="T72" fmla="*/ 288 w 535"/>
                  <a:gd name="T73" fmla="*/ 170 h 838"/>
                  <a:gd name="T74" fmla="*/ 279 w 535"/>
                  <a:gd name="T75" fmla="*/ 132 h 838"/>
                  <a:gd name="T76" fmla="*/ 289 w 535"/>
                  <a:gd name="T77" fmla="*/ 18 h 838"/>
                  <a:gd name="T78" fmla="*/ 283 w 535"/>
                  <a:gd name="T79" fmla="*/ 18 h 838"/>
                  <a:gd name="T80" fmla="*/ 199 w 535"/>
                  <a:gd name="T81" fmla="*/ 0 h 838"/>
                  <a:gd name="T82" fmla="*/ 162 w 535"/>
                  <a:gd name="T83" fmla="*/ 155 h 838"/>
                  <a:gd name="T84" fmla="*/ 116 w 535"/>
                  <a:gd name="T85" fmla="*/ 31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5" h="838">
                    <a:moveTo>
                      <a:pt x="116" y="317"/>
                    </a:moveTo>
                    <a:cubicBezTo>
                      <a:pt x="111" y="332"/>
                      <a:pt x="114" y="335"/>
                      <a:pt x="123" y="342"/>
                    </a:cubicBezTo>
                    <a:cubicBezTo>
                      <a:pt x="126" y="344"/>
                      <a:pt x="129" y="347"/>
                      <a:pt x="132" y="350"/>
                    </a:cubicBezTo>
                    <a:cubicBezTo>
                      <a:pt x="149" y="367"/>
                      <a:pt x="112" y="425"/>
                      <a:pt x="89" y="458"/>
                    </a:cubicBezTo>
                    <a:cubicBezTo>
                      <a:pt x="69" y="486"/>
                      <a:pt x="61" y="512"/>
                      <a:pt x="62" y="541"/>
                    </a:cubicBezTo>
                    <a:cubicBezTo>
                      <a:pt x="63" y="568"/>
                      <a:pt x="49" y="591"/>
                      <a:pt x="37" y="606"/>
                    </a:cubicBezTo>
                    <a:cubicBezTo>
                      <a:pt x="27" y="619"/>
                      <a:pt x="23" y="629"/>
                      <a:pt x="22" y="648"/>
                    </a:cubicBezTo>
                    <a:cubicBezTo>
                      <a:pt x="21" y="660"/>
                      <a:pt x="15" y="693"/>
                      <a:pt x="9" y="722"/>
                    </a:cubicBezTo>
                    <a:cubicBezTo>
                      <a:pt x="6" y="740"/>
                      <a:pt x="3" y="755"/>
                      <a:pt x="2" y="761"/>
                    </a:cubicBezTo>
                    <a:cubicBezTo>
                      <a:pt x="0" y="778"/>
                      <a:pt x="0" y="783"/>
                      <a:pt x="13" y="789"/>
                    </a:cubicBezTo>
                    <a:cubicBezTo>
                      <a:pt x="31" y="798"/>
                      <a:pt x="136" y="809"/>
                      <a:pt x="255" y="819"/>
                    </a:cubicBezTo>
                    <a:cubicBezTo>
                      <a:pt x="255" y="819"/>
                      <a:pt x="255" y="819"/>
                      <a:pt x="255" y="819"/>
                    </a:cubicBezTo>
                    <a:cubicBezTo>
                      <a:pt x="255" y="819"/>
                      <a:pt x="256" y="819"/>
                      <a:pt x="256" y="819"/>
                    </a:cubicBezTo>
                    <a:cubicBezTo>
                      <a:pt x="348" y="827"/>
                      <a:pt x="449" y="834"/>
                      <a:pt x="521" y="838"/>
                    </a:cubicBezTo>
                    <a:cubicBezTo>
                      <a:pt x="523" y="808"/>
                      <a:pt x="535" y="616"/>
                      <a:pt x="535" y="602"/>
                    </a:cubicBezTo>
                    <a:cubicBezTo>
                      <a:pt x="535" y="602"/>
                      <a:pt x="535" y="602"/>
                      <a:pt x="535" y="602"/>
                    </a:cubicBezTo>
                    <a:cubicBezTo>
                      <a:pt x="535" y="598"/>
                      <a:pt x="534" y="596"/>
                      <a:pt x="533" y="595"/>
                    </a:cubicBezTo>
                    <a:cubicBezTo>
                      <a:pt x="531" y="593"/>
                      <a:pt x="527" y="593"/>
                      <a:pt x="522" y="594"/>
                    </a:cubicBezTo>
                    <a:cubicBezTo>
                      <a:pt x="520" y="594"/>
                      <a:pt x="518" y="594"/>
                      <a:pt x="517" y="594"/>
                    </a:cubicBezTo>
                    <a:cubicBezTo>
                      <a:pt x="510" y="594"/>
                      <a:pt x="493" y="592"/>
                      <a:pt x="476" y="591"/>
                    </a:cubicBezTo>
                    <a:cubicBezTo>
                      <a:pt x="459" y="589"/>
                      <a:pt x="443" y="588"/>
                      <a:pt x="436" y="588"/>
                    </a:cubicBezTo>
                    <a:cubicBezTo>
                      <a:pt x="423" y="588"/>
                      <a:pt x="402" y="580"/>
                      <a:pt x="395" y="578"/>
                    </a:cubicBezTo>
                    <a:cubicBezTo>
                      <a:pt x="393" y="577"/>
                      <a:pt x="393" y="577"/>
                      <a:pt x="393" y="577"/>
                    </a:cubicBezTo>
                    <a:cubicBezTo>
                      <a:pt x="387" y="575"/>
                      <a:pt x="379" y="563"/>
                      <a:pt x="379" y="548"/>
                    </a:cubicBezTo>
                    <a:cubicBezTo>
                      <a:pt x="379" y="535"/>
                      <a:pt x="379" y="534"/>
                      <a:pt x="373" y="529"/>
                    </a:cubicBezTo>
                    <a:cubicBezTo>
                      <a:pt x="364" y="522"/>
                      <a:pt x="365" y="510"/>
                      <a:pt x="366" y="500"/>
                    </a:cubicBezTo>
                    <a:cubicBezTo>
                      <a:pt x="367" y="490"/>
                      <a:pt x="364" y="484"/>
                      <a:pt x="357" y="478"/>
                    </a:cubicBezTo>
                    <a:cubicBezTo>
                      <a:pt x="347" y="471"/>
                      <a:pt x="346" y="457"/>
                      <a:pt x="345" y="435"/>
                    </a:cubicBezTo>
                    <a:cubicBezTo>
                      <a:pt x="345" y="429"/>
                      <a:pt x="345" y="429"/>
                      <a:pt x="345" y="429"/>
                    </a:cubicBezTo>
                    <a:cubicBezTo>
                      <a:pt x="344" y="413"/>
                      <a:pt x="342" y="412"/>
                      <a:pt x="338" y="410"/>
                    </a:cubicBezTo>
                    <a:cubicBezTo>
                      <a:pt x="336" y="409"/>
                      <a:pt x="333" y="408"/>
                      <a:pt x="330" y="406"/>
                    </a:cubicBezTo>
                    <a:cubicBezTo>
                      <a:pt x="322" y="399"/>
                      <a:pt x="328" y="371"/>
                      <a:pt x="341" y="322"/>
                    </a:cubicBezTo>
                    <a:cubicBezTo>
                      <a:pt x="342" y="316"/>
                      <a:pt x="343" y="311"/>
                      <a:pt x="344" y="308"/>
                    </a:cubicBezTo>
                    <a:cubicBezTo>
                      <a:pt x="345" y="303"/>
                      <a:pt x="345" y="301"/>
                      <a:pt x="345" y="301"/>
                    </a:cubicBezTo>
                    <a:cubicBezTo>
                      <a:pt x="344" y="301"/>
                      <a:pt x="342" y="301"/>
                      <a:pt x="340" y="301"/>
                    </a:cubicBezTo>
                    <a:cubicBezTo>
                      <a:pt x="336" y="301"/>
                      <a:pt x="330" y="301"/>
                      <a:pt x="325" y="297"/>
                    </a:cubicBezTo>
                    <a:cubicBezTo>
                      <a:pt x="317" y="291"/>
                      <a:pt x="307" y="250"/>
                      <a:pt x="288" y="170"/>
                    </a:cubicBezTo>
                    <a:cubicBezTo>
                      <a:pt x="284" y="152"/>
                      <a:pt x="281" y="139"/>
                      <a:pt x="279" y="132"/>
                    </a:cubicBezTo>
                    <a:cubicBezTo>
                      <a:pt x="273" y="109"/>
                      <a:pt x="286" y="37"/>
                      <a:pt x="289" y="18"/>
                    </a:cubicBezTo>
                    <a:cubicBezTo>
                      <a:pt x="287" y="18"/>
                      <a:pt x="285" y="18"/>
                      <a:pt x="283" y="18"/>
                    </a:cubicBezTo>
                    <a:cubicBezTo>
                      <a:pt x="273" y="17"/>
                      <a:pt x="241" y="10"/>
                      <a:pt x="199" y="0"/>
                    </a:cubicBezTo>
                    <a:cubicBezTo>
                      <a:pt x="195" y="17"/>
                      <a:pt x="179" y="86"/>
                      <a:pt x="162" y="155"/>
                    </a:cubicBezTo>
                    <a:cubicBezTo>
                      <a:pt x="129" y="287"/>
                      <a:pt x="120" y="312"/>
                      <a:pt x="116"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109">
                <a:extLst>
                  <a:ext uri="{FF2B5EF4-FFF2-40B4-BE49-F238E27FC236}">
                    <a16:creationId xmlns:a16="http://schemas.microsoft.com/office/drawing/2014/main" id="{FBC3AC20-43D0-4F76-8FE8-9F2ADCC7CE0A}"/>
                  </a:ext>
                </a:extLst>
              </p:cNvPr>
              <p:cNvSpPr>
                <a:spLocks/>
              </p:cNvSpPr>
              <p:nvPr/>
            </p:nvSpPr>
            <p:spPr bwMode="auto">
              <a:xfrm>
                <a:off x="1355" y="435"/>
                <a:ext cx="750" cy="535"/>
              </a:xfrm>
              <a:custGeom>
                <a:avLst/>
                <a:gdLst>
                  <a:gd name="T0" fmla="*/ 88 w 638"/>
                  <a:gd name="T1" fmla="*/ 364 h 455"/>
                  <a:gd name="T2" fmla="*/ 147 w 638"/>
                  <a:gd name="T3" fmla="*/ 399 h 455"/>
                  <a:gd name="T4" fmla="*/ 363 w 638"/>
                  <a:gd name="T5" fmla="*/ 424 h 455"/>
                  <a:gd name="T6" fmla="*/ 509 w 638"/>
                  <a:gd name="T7" fmla="*/ 445 h 455"/>
                  <a:gd name="T8" fmla="*/ 638 w 638"/>
                  <a:gd name="T9" fmla="*/ 141 h 455"/>
                  <a:gd name="T10" fmla="*/ 223 w 638"/>
                  <a:gd name="T11" fmla="*/ 26 h 455"/>
                  <a:gd name="T12" fmla="*/ 222 w 638"/>
                  <a:gd name="T13" fmla="*/ 30 h 455"/>
                  <a:gd name="T14" fmla="*/ 231 w 638"/>
                  <a:gd name="T15" fmla="*/ 57 h 455"/>
                  <a:gd name="T16" fmla="*/ 231 w 638"/>
                  <a:gd name="T17" fmla="*/ 109 h 455"/>
                  <a:gd name="T18" fmla="*/ 221 w 638"/>
                  <a:gd name="T19" fmla="*/ 134 h 455"/>
                  <a:gd name="T20" fmla="*/ 238 w 638"/>
                  <a:gd name="T21" fmla="*/ 133 h 455"/>
                  <a:gd name="T22" fmla="*/ 223 w 638"/>
                  <a:gd name="T23" fmla="*/ 170 h 455"/>
                  <a:gd name="T24" fmla="*/ 211 w 638"/>
                  <a:gd name="T25" fmla="*/ 147 h 455"/>
                  <a:gd name="T26" fmla="*/ 181 w 638"/>
                  <a:gd name="T27" fmla="*/ 181 h 455"/>
                  <a:gd name="T28" fmla="*/ 174 w 638"/>
                  <a:gd name="T29" fmla="*/ 187 h 455"/>
                  <a:gd name="T30" fmla="*/ 149 w 638"/>
                  <a:gd name="T31" fmla="*/ 203 h 455"/>
                  <a:gd name="T32" fmla="*/ 146 w 638"/>
                  <a:gd name="T33" fmla="*/ 207 h 455"/>
                  <a:gd name="T34" fmla="*/ 132 w 638"/>
                  <a:gd name="T35" fmla="*/ 228 h 455"/>
                  <a:gd name="T36" fmla="*/ 105 w 638"/>
                  <a:gd name="T37" fmla="*/ 210 h 455"/>
                  <a:gd name="T38" fmla="*/ 172 w 638"/>
                  <a:gd name="T39" fmla="*/ 139 h 455"/>
                  <a:gd name="T40" fmla="*/ 161 w 638"/>
                  <a:gd name="T41" fmla="*/ 138 h 455"/>
                  <a:gd name="T42" fmla="*/ 139 w 638"/>
                  <a:gd name="T43" fmla="*/ 130 h 455"/>
                  <a:gd name="T44" fmla="*/ 155 w 638"/>
                  <a:gd name="T45" fmla="*/ 112 h 455"/>
                  <a:gd name="T46" fmla="*/ 142 w 638"/>
                  <a:gd name="T47" fmla="*/ 105 h 455"/>
                  <a:gd name="T48" fmla="*/ 169 w 638"/>
                  <a:gd name="T49" fmla="*/ 87 h 455"/>
                  <a:gd name="T50" fmla="*/ 177 w 638"/>
                  <a:gd name="T51" fmla="*/ 85 h 455"/>
                  <a:gd name="T52" fmla="*/ 160 w 638"/>
                  <a:gd name="T53" fmla="*/ 64 h 455"/>
                  <a:gd name="T54" fmla="*/ 145 w 638"/>
                  <a:gd name="T55" fmla="*/ 63 h 455"/>
                  <a:gd name="T56" fmla="*/ 108 w 638"/>
                  <a:gd name="T57" fmla="*/ 54 h 455"/>
                  <a:gd name="T58" fmla="*/ 51 w 638"/>
                  <a:gd name="T59" fmla="*/ 4 h 455"/>
                  <a:gd name="T60" fmla="*/ 35 w 638"/>
                  <a:gd name="T61" fmla="*/ 1 h 455"/>
                  <a:gd name="T62" fmla="*/ 23 w 638"/>
                  <a:gd name="T63" fmla="*/ 15 h 455"/>
                  <a:gd name="T64" fmla="*/ 23 w 638"/>
                  <a:gd name="T65" fmla="*/ 65 h 455"/>
                  <a:gd name="T66" fmla="*/ 17 w 638"/>
                  <a:gd name="T67" fmla="*/ 90 h 455"/>
                  <a:gd name="T68" fmla="*/ 25 w 638"/>
                  <a:gd name="T69" fmla="*/ 130 h 455"/>
                  <a:gd name="T70" fmla="*/ 59 w 638"/>
                  <a:gd name="T71" fmla="*/ 160 h 455"/>
                  <a:gd name="T72" fmla="*/ 38 w 638"/>
                  <a:gd name="T73" fmla="*/ 180 h 455"/>
                  <a:gd name="T74" fmla="*/ 11 w 638"/>
                  <a:gd name="T75" fmla="*/ 237 h 455"/>
                  <a:gd name="T76" fmla="*/ 26 w 638"/>
                  <a:gd name="T77" fmla="*/ 290 h 455"/>
                  <a:gd name="T78" fmla="*/ 0 w 638"/>
                  <a:gd name="T79" fmla="*/ 310 h 455"/>
                  <a:gd name="T80" fmla="*/ 70 w 638"/>
                  <a:gd name="T81" fmla="*/ 333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8" h="455">
                    <a:moveTo>
                      <a:pt x="70" y="333"/>
                    </a:moveTo>
                    <a:cubicBezTo>
                      <a:pt x="81" y="342"/>
                      <a:pt x="88" y="354"/>
                      <a:pt x="88" y="364"/>
                    </a:cubicBezTo>
                    <a:cubicBezTo>
                      <a:pt x="89" y="377"/>
                      <a:pt x="92" y="393"/>
                      <a:pt x="105" y="393"/>
                    </a:cubicBezTo>
                    <a:cubicBezTo>
                      <a:pt x="111" y="393"/>
                      <a:pt x="125" y="395"/>
                      <a:pt x="147" y="399"/>
                    </a:cubicBezTo>
                    <a:cubicBezTo>
                      <a:pt x="177" y="404"/>
                      <a:pt x="216" y="411"/>
                      <a:pt x="253" y="415"/>
                    </a:cubicBezTo>
                    <a:cubicBezTo>
                      <a:pt x="287" y="419"/>
                      <a:pt x="327" y="422"/>
                      <a:pt x="363" y="424"/>
                    </a:cubicBezTo>
                    <a:cubicBezTo>
                      <a:pt x="395" y="427"/>
                      <a:pt x="423" y="428"/>
                      <a:pt x="441" y="431"/>
                    </a:cubicBezTo>
                    <a:cubicBezTo>
                      <a:pt x="460" y="433"/>
                      <a:pt x="486" y="439"/>
                      <a:pt x="509" y="445"/>
                    </a:cubicBezTo>
                    <a:cubicBezTo>
                      <a:pt x="528" y="450"/>
                      <a:pt x="551" y="455"/>
                      <a:pt x="556" y="455"/>
                    </a:cubicBezTo>
                    <a:cubicBezTo>
                      <a:pt x="565" y="439"/>
                      <a:pt x="609" y="262"/>
                      <a:pt x="638" y="141"/>
                    </a:cubicBezTo>
                    <a:cubicBezTo>
                      <a:pt x="507" y="109"/>
                      <a:pt x="284" y="48"/>
                      <a:pt x="254" y="36"/>
                    </a:cubicBezTo>
                    <a:cubicBezTo>
                      <a:pt x="239" y="30"/>
                      <a:pt x="228" y="26"/>
                      <a:pt x="223" y="26"/>
                    </a:cubicBezTo>
                    <a:cubicBezTo>
                      <a:pt x="222" y="26"/>
                      <a:pt x="222" y="27"/>
                      <a:pt x="222" y="27"/>
                    </a:cubicBezTo>
                    <a:cubicBezTo>
                      <a:pt x="221" y="27"/>
                      <a:pt x="222" y="29"/>
                      <a:pt x="222" y="30"/>
                    </a:cubicBezTo>
                    <a:cubicBezTo>
                      <a:pt x="222" y="30"/>
                      <a:pt x="222" y="30"/>
                      <a:pt x="222" y="30"/>
                    </a:cubicBezTo>
                    <a:cubicBezTo>
                      <a:pt x="222" y="37"/>
                      <a:pt x="228" y="55"/>
                      <a:pt x="231" y="57"/>
                    </a:cubicBezTo>
                    <a:cubicBezTo>
                      <a:pt x="236" y="61"/>
                      <a:pt x="239" y="69"/>
                      <a:pt x="240" y="83"/>
                    </a:cubicBezTo>
                    <a:cubicBezTo>
                      <a:pt x="241" y="94"/>
                      <a:pt x="238" y="105"/>
                      <a:pt x="231" y="109"/>
                    </a:cubicBezTo>
                    <a:cubicBezTo>
                      <a:pt x="222" y="114"/>
                      <a:pt x="220" y="126"/>
                      <a:pt x="220" y="130"/>
                    </a:cubicBezTo>
                    <a:cubicBezTo>
                      <a:pt x="221" y="131"/>
                      <a:pt x="221" y="133"/>
                      <a:pt x="221" y="134"/>
                    </a:cubicBezTo>
                    <a:cubicBezTo>
                      <a:pt x="222" y="134"/>
                      <a:pt x="223" y="133"/>
                      <a:pt x="224" y="132"/>
                    </a:cubicBezTo>
                    <a:cubicBezTo>
                      <a:pt x="229" y="129"/>
                      <a:pt x="234" y="129"/>
                      <a:pt x="238" y="133"/>
                    </a:cubicBezTo>
                    <a:cubicBezTo>
                      <a:pt x="242" y="137"/>
                      <a:pt x="243" y="144"/>
                      <a:pt x="243" y="151"/>
                    </a:cubicBezTo>
                    <a:cubicBezTo>
                      <a:pt x="242" y="164"/>
                      <a:pt x="235" y="170"/>
                      <a:pt x="223" y="170"/>
                    </a:cubicBezTo>
                    <a:cubicBezTo>
                      <a:pt x="220" y="170"/>
                      <a:pt x="217" y="169"/>
                      <a:pt x="215" y="167"/>
                    </a:cubicBezTo>
                    <a:cubicBezTo>
                      <a:pt x="211" y="163"/>
                      <a:pt x="211" y="154"/>
                      <a:pt x="211" y="147"/>
                    </a:cubicBezTo>
                    <a:cubicBezTo>
                      <a:pt x="208" y="151"/>
                      <a:pt x="203" y="159"/>
                      <a:pt x="199" y="168"/>
                    </a:cubicBezTo>
                    <a:cubicBezTo>
                      <a:pt x="194" y="178"/>
                      <a:pt x="187" y="179"/>
                      <a:pt x="181" y="181"/>
                    </a:cubicBezTo>
                    <a:cubicBezTo>
                      <a:pt x="180" y="181"/>
                      <a:pt x="179" y="181"/>
                      <a:pt x="178" y="182"/>
                    </a:cubicBezTo>
                    <a:cubicBezTo>
                      <a:pt x="174" y="183"/>
                      <a:pt x="174" y="183"/>
                      <a:pt x="174" y="187"/>
                    </a:cubicBezTo>
                    <a:cubicBezTo>
                      <a:pt x="174" y="189"/>
                      <a:pt x="174" y="192"/>
                      <a:pt x="171" y="194"/>
                    </a:cubicBezTo>
                    <a:cubicBezTo>
                      <a:pt x="166" y="200"/>
                      <a:pt x="156" y="202"/>
                      <a:pt x="149" y="203"/>
                    </a:cubicBezTo>
                    <a:cubicBezTo>
                      <a:pt x="147" y="203"/>
                      <a:pt x="146" y="203"/>
                      <a:pt x="146" y="203"/>
                    </a:cubicBezTo>
                    <a:cubicBezTo>
                      <a:pt x="146" y="204"/>
                      <a:pt x="146" y="206"/>
                      <a:pt x="146" y="207"/>
                    </a:cubicBezTo>
                    <a:cubicBezTo>
                      <a:pt x="146" y="209"/>
                      <a:pt x="147" y="211"/>
                      <a:pt x="146" y="213"/>
                    </a:cubicBezTo>
                    <a:cubicBezTo>
                      <a:pt x="146" y="220"/>
                      <a:pt x="140" y="228"/>
                      <a:pt x="132" y="228"/>
                    </a:cubicBezTo>
                    <a:cubicBezTo>
                      <a:pt x="131" y="228"/>
                      <a:pt x="130" y="228"/>
                      <a:pt x="129" y="228"/>
                    </a:cubicBezTo>
                    <a:cubicBezTo>
                      <a:pt x="114" y="225"/>
                      <a:pt x="106" y="219"/>
                      <a:pt x="105" y="210"/>
                    </a:cubicBezTo>
                    <a:cubicBezTo>
                      <a:pt x="104" y="200"/>
                      <a:pt x="116" y="190"/>
                      <a:pt x="121" y="188"/>
                    </a:cubicBezTo>
                    <a:cubicBezTo>
                      <a:pt x="143" y="180"/>
                      <a:pt x="161" y="163"/>
                      <a:pt x="172" y="139"/>
                    </a:cubicBezTo>
                    <a:cubicBezTo>
                      <a:pt x="172" y="138"/>
                      <a:pt x="172" y="138"/>
                      <a:pt x="172" y="138"/>
                    </a:cubicBezTo>
                    <a:cubicBezTo>
                      <a:pt x="171" y="137"/>
                      <a:pt x="165" y="138"/>
                      <a:pt x="161" y="138"/>
                    </a:cubicBezTo>
                    <a:cubicBezTo>
                      <a:pt x="155" y="139"/>
                      <a:pt x="148" y="139"/>
                      <a:pt x="145" y="138"/>
                    </a:cubicBezTo>
                    <a:cubicBezTo>
                      <a:pt x="141" y="137"/>
                      <a:pt x="139" y="134"/>
                      <a:pt x="139" y="130"/>
                    </a:cubicBezTo>
                    <a:cubicBezTo>
                      <a:pt x="138" y="124"/>
                      <a:pt x="146" y="117"/>
                      <a:pt x="153" y="113"/>
                    </a:cubicBezTo>
                    <a:cubicBezTo>
                      <a:pt x="154" y="113"/>
                      <a:pt x="154" y="112"/>
                      <a:pt x="155" y="112"/>
                    </a:cubicBezTo>
                    <a:cubicBezTo>
                      <a:pt x="154" y="111"/>
                      <a:pt x="153" y="111"/>
                      <a:pt x="151" y="111"/>
                    </a:cubicBezTo>
                    <a:cubicBezTo>
                      <a:pt x="144" y="110"/>
                      <a:pt x="143" y="106"/>
                      <a:pt x="142" y="105"/>
                    </a:cubicBezTo>
                    <a:cubicBezTo>
                      <a:pt x="141" y="100"/>
                      <a:pt x="144" y="95"/>
                      <a:pt x="150" y="92"/>
                    </a:cubicBezTo>
                    <a:cubicBezTo>
                      <a:pt x="156" y="88"/>
                      <a:pt x="162" y="88"/>
                      <a:pt x="169" y="87"/>
                    </a:cubicBezTo>
                    <a:cubicBezTo>
                      <a:pt x="171" y="87"/>
                      <a:pt x="172" y="87"/>
                      <a:pt x="174" y="87"/>
                    </a:cubicBezTo>
                    <a:cubicBezTo>
                      <a:pt x="175" y="87"/>
                      <a:pt x="176" y="86"/>
                      <a:pt x="177" y="85"/>
                    </a:cubicBezTo>
                    <a:cubicBezTo>
                      <a:pt x="180" y="82"/>
                      <a:pt x="181" y="75"/>
                      <a:pt x="180" y="67"/>
                    </a:cubicBezTo>
                    <a:cubicBezTo>
                      <a:pt x="180" y="66"/>
                      <a:pt x="178" y="64"/>
                      <a:pt x="160" y="64"/>
                    </a:cubicBezTo>
                    <a:cubicBezTo>
                      <a:pt x="154" y="64"/>
                      <a:pt x="154" y="64"/>
                      <a:pt x="154" y="64"/>
                    </a:cubicBezTo>
                    <a:cubicBezTo>
                      <a:pt x="150" y="64"/>
                      <a:pt x="147" y="64"/>
                      <a:pt x="145" y="63"/>
                    </a:cubicBezTo>
                    <a:cubicBezTo>
                      <a:pt x="141" y="63"/>
                      <a:pt x="137" y="61"/>
                      <a:pt x="132" y="60"/>
                    </a:cubicBezTo>
                    <a:cubicBezTo>
                      <a:pt x="124" y="58"/>
                      <a:pt x="115" y="55"/>
                      <a:pt x="108" y="54"/>
                    </a:cubicBezTo>
                    <a:cubicBezTo>
                      <a:pt x="98" y="53"/>
                      <a:pt x="79" y="33"/>
                      <a:pt x="59" y="12"/>
                    </a:cubicBezTo>
                    <a:cubicBezTo>
                      <a:pt x="55" y="8"/>
                      <a:pt x="52" y="5"/>
                      <a:pt x="51" y="4"/>
                    </a:cubicBezTo>
                    <a:cubicBezTo>
                      <a:pt x="48" y="1"/>
                      <a:pt x="44" y="0"/>
                      <a:pt x="40" y="0"/>
                    </a:cubicBezTo>
                    <a:cubicBezTo>
                      <a:pt x="37" y="0"/>
                      <a:pt x="35" y="1"/>
                      <a:pt x="35" y="1"/>
                    </a:cubicBezTo>
                    <a:cubicBezTo>
                      <a:pt x="33" y="3"/>
                      <a:pt x="32" y="5"/>
                      <a:pt x="30" y="7"/>
                    </a:cubicBezTo>
                    <a:cubicBezTo>
                      <a:pt x="27" y="9"/>
                      <a:pt x="25" y="12"/>
                      <a:pt x="23" y="15"/>
                    </a:cubicBezTo>
                    <a:cubicBezTo>
                      <a:pt x="22" y="17"/>
                      <a:pt x="22" y="28"/>
                      <a:pt x="23" y="36"/>
                    </a:cubicBezTo>
                    <a:cubicBezTo>
                      <a:pt x="24" y="46"/>
                      <a:pt x="24" y="57"/>
                      <a:pt x="23" y="65"/>
                    </a:cubicBezTo>
                    <a:cubicBezTo>
                      <a:pt x="22" y="81"/>
                      <a:pt x="20" y="85"/>
                      <a:pt x="18" y="89"/>
                    </a:cubicBezTo>
                    <a:cubicBezTo>
                      <a:pt x="18" y="89"/>
                      <a:pt x="18" y="90"/>
                      <a:pt x="17" y="90"/>
                    </a:cubicBezTo>
                    <a:cubicBezTo>
                      <a:pt x="16" y="94"/>
                      <a:pt x="16" y="105"/>
                      <a:pt x="18" y="106"/>
                    </a:cubicBezTo>
                    <a:cubicBezTo>
                      <a:pt x="23" y="110"/>
                      <a:pt x="24" y="119"/>
                      <a:pt x="25" y="130"/>
                    </a:cubicBezTo>
                    <a:cubicBezTo>
                      <a:pt x="25" y="133"/>
                      <a:pt x="25" y="136"/>
                      <a:pt x="26" y="140"/>
                    </a:cubicBezTo>
                    <a:cubicBezTo>
                      <a:pt x="27" y="150"/>
                      <a:pt x="37" y="156"/>
                      <a:pt x="59" y="160"/>
                    </a:cubicBezTo>
                    <a:cubicBezTo>
                      <a:pt x="63" y="161"/>
                      <a:pt x="70" y="162"/>
                      <a:pt x="70" y="168"/>
                    </a:cubicBezTo>
                    <a:cubicBezTo>
                      <a:pt x="70" y="173"/>
                      <a:pt x="65" y="175"/>
                      <a:pt x="38" y="180"/>
                    </a:cubicBezTo>
                    <a:cubicBezTo>
                      <a:pt x="27" y="182"/>
                      <a:pt x="17" y="216"/>
                      <a:pt x="11" y="235"/>
                    </a:cubicBezTo>
                    <a:cubicBezTo>
                      <a:pt x="11" y="237"/>
                      <a:pt x="11" y="237"/>
                      <a:pt x="11" y="237"/>
                    </a:cubicBezTo>
                    <a:cubicBezTo>
                      <a:pt x="6" y="250"/>
                      <a:pt x="15" y="266"/>
                      <a:pt x="21" y="277"/>
                    </a:cubicBezTo>
                    <a:cubicBezTo>
                      <a:pt x="24" y="283"/>
                      <a:pt x="26" y="287"/>
                      <a:pt x="26" y="290"/>
                    </a:cubicBezTo>
                    <a:cubicBezTo>
                      <a:pt x="27" y="305"/>
                      <a:pt x="13" y="307"/>
                      <a:pt x="6" y="309"/>
                    </a:cubicBezTo>
                    <a:cubicBezTo>
                      <a:pt x="4" y="309"/>
                      <a:pt x="1" y="309"/>
                      <a:pt x="0" y="310"/>
                    </a:cubicBezTo>
                    <a:cubicBezTo>
                      <a:pt x="0" y="311"/>
                      <a:pt x="0" y="315"/>
                      <a:pt x="0" y="319"/>
                    </a:cubicBezTo>
                    <a:cubicBezTo>
                      <a:pt x="27" y="314"/>
                      <a:pt x="52" y="319"/>
                      <a:pt x="70" y="3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0">
                <a:extLst>
                  <a:ext uri="{FF2B5EF4-FFF2-40B4-BE49-F238E27FC236}">
                    <a16:creationId xmlns:a16="http://schemas.microsoft.com/office/drawing/2014/main" id="{B213B21A-D073-45B6-90AC-37498A9BBD89}"/>
                  </a:ext>
                </a:extLst>
              </p:cNvPr>
              <p:cNvSpPr>
                <a:spLocks/>
              </p:cNvSpPr>
              <p:nvPr/>
            </p:nvSpPr>
            <p:spPr bwMode="auto">
              <a:xfrm>
                <a:off x="4327" y="2980"/>
                <a:ext cx="678" cy="608"/>
              </a:xfrm>
              <a:custGeom>
                <a:avLst/>
                <a:gdLst>
                  <a:gd name="T0" fmla="*/ 448 w 576"/>
                  <a:gd name="T1" fmla="*/ 286 h 516"/>
                  <a:gd name="T2" fmla="*/ 440 w 576"/>
                  <a:gd name="T3" fmla="*/ 234 h 516"/>
                  <a:gd name="T4" fmla="*/ 444 w 576"/>
                  <a:gd name="T5" fmla="*/ 219 h 516"/>
                  <a:gd name="T6" fmla="*/ 253 w 576"/>
                  <a:gd name="T7" fmla="*/ 219 h 516"/>
                  <a:gd name="T8" fmla="*/ 249 w 576"/>
                  <a:gd name="T9" fmla="*/ 215 h 516"/>
                  <a:gd name="T10" fmla="*/ 257 w 576"/>
                  <a:gd name="T11" fmla="*/ 187 h 516"/>
                  <a:gd name="T12" fmla="*/ 266 w 576"/>
                  <a:gd name="T13" fmla="*/ 165 h 516"/>
                  <a:gd name="T14" fmla="*/ 278 w 576"/>
                  <a:gd name="T15" fmla="*/ 110 h 516"/>
                  <a:gd name="T16" fmla="*/ 287 w 576"/>
                  <a:gd name="T17" fmla="*/ 87 h 516"/>
                  <a:gd name="T18" fmla="*/ 300 w 576"/>
                  <a:gd name="T19" fmla="*/ 65 h 516"/>
                  <a:gd name="T20" fmla="*/ 287 w 576"/>
                  <a:gd name="T21" fmla="*/ 53 h 516"/>
                  <a:gd name="T22" fmla="*/ 296 w 576"/>
                  <a:gd name="T23" fmla="*/ 32 h 516"/>
                  <a:gd name="T24" fmla="*/ 284 w 576"/>
                  <a:gd name="T25" fmla="*/ 0 h 516"/>
                  <a:gd name="T26" fmla="*/ 5 w 576"/>
                  <a:gd name="T27" fmla="*/ 117 h 516"/>
                  <a:gd name="T28" fmla="*/ 56 w 576"/>
                  <a:gd name="T29" fmla="*/ 191 h 516"/>
                  <a:gd name="T30" fmla="*/ 72 w 576"/>
                  <a:gd name="T31" fmla="*/ 261 h 516"/>
                  <a:gd name="T32" fmla="*/ 76 w 576"/>
                  <a:gd name="T33" fmla="*/ 373 h 516"/>
                  <a:gd name="T34" fmla="*/ 180 w 576"/>
                  <a:gd name="T35" fmla="*/ 400 h 516"/>
                  <a:gd name="T36" fmla="*/ 250 w 576"/>
                  <a:gd name="T37" fmla="*/ 426 h 516"/>
                  <a:gd name="T38" fmla="*/ 278 w 576"/>
                  <a:gd name="T39" fmla="*/ 449 h 516"/>
                  <a:gd name="T40" fmla="*/ 290 w 576"/>
                  <a:gd name="T41" fmla="*/ 441 h 516"/>
                  <a:gd name="T42" fmla="*/ 289 w 576"/>
                  <a:gd name="T43" fmla="*/ 430 h 516"/>
                  <a:gd name="T44" fmla="*/ 264 w 576"/>
                  <a:gd name="T45" fmla="*/ 404 h 516"/>
                  <a:gd name="T46" fmla="*/ 291 w 576"/>
                  <a:gd name="T47" fmla="*/ 386 h 516"/>
                  <a:gd name="T48" fmla="*/ 319 w 576"/>
                  <a:gd name="T49" fmla="*/ 391 h 516"/>
                  <a:gd name="T50" fmla="*/ 323 w 576"/>
                  <a:gd name="T51" fmla="*/ 432 h 516"/>
                  <a:gd name="T52" fmla="*/ 337 w 576"/>
                  <a:gd name="T53" fmla="*/ 453 h 516"/>
                  <a:gd name="T54" fmla="*/ 321 w 576"/>
                  <a:gd name="T55" fmla="*/ 475 h 516"/>
                  <a:gd name="T56" fmla="*/ 319 w 576"/>
                  <a:gd name="T57" fmla="*/ 504 h 516"/>
                  <a:gd name="T58" fmla="*/ 355 w 576"/>
                  <a:gd name="T59" fmla="*/ 478 h 516"/>
                  <a:gd name="T60" fmla="*/ 375 w 576"/>
                  <a:gd name="T61" fmla="*/ 462 h 516"/>
                  <a:gd name="T62" fmla="*/ 394 w 576"/>
                  <a:gd name="T63" fmla="*/ 453 h 516"/>
                  <a:gd name="T64" fmla="*/ 422 w 576"/>
                  <a:gd name="T65" fmla="*/ 474 h 516"/>
                  <a:gd name="T66" fmla="*/ 434 w 576"/>
                  <a:gd name="T67" fmla="*/ 496 h 516"/>
                  <a:gd name="T68" fmla="*/ 455 w 576"/>
                  <a:gd name="T69" fmla="*/ 504 h 516"/>
                  <a:gd name="T70" fmla="*/ 453 w 576"/>
                  <a:gd name="T71" fmla="*/ 487 h 516"/>
                  <a:gd name="T72" fmla="*/ 434 w 576"/>
                  <a:gd name="T73" fmla="*/ 472 h 516"/>
                  <a:gd name="T74" fmla="*/ 420 w 576"/>
                  <a:gd name="T75" fmla="*/ 439 h 516"/>
                  <a:gd name="T76" fmla="*/ 422 w 576"/>
                  <a:gd name="T77" fmla="*/ 427 h 516"/>
                  <a:gd name="T78" fmla="*/ 455 w 576"/>
                  <a:gd name="T79" fmla="*/ 441 h 516"/>
                  <a:gd name="T80" fmla="*/ 489 w 576"/>
                  <a:gd name="T81" fmla="*/ 473 h 516"/>
                  <a:gd name="T82" fmla="*/ 525 w 576"/>
                  <a:gd name="T83" fmla="*/ 483 h 516"/>
                  <a:gd name="T84" fmla="*/ 539 w 576"/>
                  <a:gd name="T85" fmla="*/ 479 h 516"/>
                  <a:gd name="T86" fmla="*/ 567 w 576"/>
                  <a:gd name="T87" fmla="*/ 493 h 516"/>
                  <a:gd name="T88" fmla="*/ 576 w 576"/>
                  <a:gd name="T89" fmla="*/ 496 h 516"/>
                  <a:gd name="T90" fmla="*/ 558 w 576"/>
                  <a:gd name="T91" fmla="*/ 469 h 516"/>
                  <a:gd name="T92" fmla="*/ 534 w 576"/>
                  <a:gd name="T93" fmla="*/ 466 h 516"/>
                  <a:gd name="T94" fmla="*/ 514 w 576"/>
                  <a:gd name="T95" fmla="*/ 461 h 516"/>
                  <a:gd name="T96" fmla="*/ 492 w 576"/>
                  <a:gd name="T97" fmla="*/ 449 h 516"/>
                  <a:gd name="T98" fmla="*/ 464 w 576"/>
                  <a:gd name="T99" fmla="*/ 422 h 516"/>
                  <a:gd name="T100" fmla="*/ 481 w 576"/>
                  <a:gd name="T101" fmla="*/ 400 h 516"/>
                  <a:gd name="T102" fmla="*/ 492 w 576"/>
                  <a:gd name="T103" fmla="*/ 387 h 516"/>
                  <a:gd name="T104" fmla="*/ 500 w 576"/>
                  <a:gd name="T105" fmla="*/ 373 h 516"/>
                  <a:gd name="T106" fmla="*/ 507 w 576"/>
                  <a:gd name="T107" fmla="*/ 375 h 516"/>
                  <a:gd name="T108" fmla="*/ 516 w 576"/>
                  <a:gd name="T109" fmla="*/ 358 h 516"/>
                  <a:gd name="T110" fmla="*/ 486 w 576"/>
                  <a:gd name="T111" fmla="*/ 348 h 516"/>
                  <a:gd name="T112" fmla="*/ 454 w 576"/>
                  <a:gd name="T113" fmla="*/ 393 h 516"/>
                  <a:gd name="T114" fmla="*/ 430 w 576"/>
                  <a:gd name="T115" fmla="*/ 373 h 516"/>
                  <a:gd name="T116" fmla="*/ 412 w 576"/>
                  <a:gd name="T117" fmla="*/ 357 h 516"/>
                  <a:gd name="T118" fmla="*/ 384 w 576"/>
                  <a:gd name="T119" fmla="*/ 319 h 516"/>
                  <a:gd name="T120" fmla="*/ 415 w 576"/>
                  <a:gd name="T121" fmla="*/ 307 h 516"/>
                  <a:gd name="T122" fmla="*/ 480 w 576"/>
                  <a:gd name="T123" fmla="*/ 318 h 516"/>
                  <a:gd name="T124" fmla="*/ 452 w 576"/>
                  <a:gd name="T125" fmla="*/ 29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516">
                    <a:moveTo>
                      <a:pt x="452" y="290"/>
                    </a:moveTo>
                    <a:cubicBezTo>
                      <a:pt x="451" y="288"/>
                      <a:pt x="450" y="287"/>
                      <a:pt x="448" y="286"/>
                    </a:cubicBezTo>
                    <a:cubicBezTo>
                      <a:pt x="442" y="281"/>
                      <a:pt x="434" y="274"/>
                      <a:pt x="435" y="256"/>
                    </a:cubicBezTo>
                    <a:cubicBezTo>
                      <a:pt x="436" y="241"/>
                      <a:pt x="437" y="238"/>
                      <a:pt x="440" y="234"/>
                    </a:cubicBezTo>
                    <a:cubicBezTo>
                      <a:pt x="441" y="232"/>
                      <a:pt x="442" y="230"/>
                      <a:pt x="444" y="225"/>
                    </a:cubicBezTo>
                    <a:cubicBezTo>
                      <a:pt x="444" y="222"/>
                      <a:pt x="444" y="220"/>
                      <a:pt x="444" y="219"/>
                    </a:cubicBezTo>
                    <a:cubicBezTo>
                      <a:pt x="442" y="217"/>
                      <a:pt x="437" y="217"/>
                      <a:pt x="434" y="217"/>
                    </a:cubicBezTo>
                    <a:cubicBezTo>
                      <a:pt x="253" y="219"/>
                      <a:pt x="253" y="219"/>
                      <a:pt x="253" y="219"/>
                    </a:cubicBezTo>
                    <a:cubicBezTo>
                      <a:pt x="252" y="219"/>
                      <a:pt x="251" y="219"/>
                      <a:pt x="250" y="218"/>
                    </a:cubicBezTo>
                    <a:cubicBezTo>
                      <a:pt x="249" y="217"/>
                      <a:pt x="249" y="216"/>
                      <a:pt x="249" y="215"/>
                    </a:cubicBezTo>
                    <a:cubicBezTo>
                      <a:pt x="249" y="215"/>
                      <a:pt x="249" y="208"/>
                      <a:pt x="249" y="202"/>
                    </a:cubicBezTo>
                    <a:cubicBezTo>
                      <a:pt x="248" y="195"/>
                      <a:pt x="251" y="191"/>
                      <a:pt x="257" y="187"/>
                    </a:cubicBezTo>
                    <a:cubicBezTo>
                      <a:pt x="260" y="186"/>
                      <a:pt x="260" y="181"/>
                      <a:pt x="260" y="179"/>
                    </a:cubicBezTo>
                    <a:cubicBezTo>
                      <a:pt x="260" y="173"/>
                      <a:pt x="266" y="166"/>
                      <a:pt x="266" y="165"/>
                    </a:cubicBezTo>
                    <a:cubicBezTo>
                      <a:pt x="269" y="161"/>
                      <a:pt x="271" y="156"/>
                      <a:pt x="274" y="144"/>
                    </a:cubicBezTo>
                    <a:cubicBezTo>
                      <a:pt x="277" y="133"/>
                      <a:pt x="277" y="120"/>
                      <a:pt x="278" y="110"/>
                    </a:cubicBezTo>
                    <a:cubicBezTo>
                      <a:pt x="278" y="108"/>
                      <a:pt x="278" y="106"/>
                      <a:pt x="278" y="105"/>
                    </a:cubicBezTo>
                    <a:cubicBezTo>
                      <a:pt x="278" y="96"/>
                      <a:pt x="283" y="91"/>
                      <a:pt x="287" y="87"/>
                    </a:cubicBezTo>
                    <a:cubicBezTo>
                      <a:pt x="288" y="86"/>
                      <a:pt x="289" y="85"/>
                      <a:pt x="290" y="84"/>
                    </a:cubicBezTo>
                    <a:cubicBezTo>
                      <a:pt x="295" y="78"/>
                      <a:pt x="300" y="68"/>
                      <a:pt x="300" y="65"/>
                    </a:cubicBezTo>
                    <a:cubicBezTo>
                      <a:pt x="299" y="64"/>
                      <a:pt x="296" y="62"/>
                      <a:pt x="294" y="61"/>
                    </a:cubicBezTo>
                    <a:cubicBezTo>
                      <a:pt x="291" y="59"/>
                      <a:pt x="287" y="57"/>
                      <a:pt x="287" y="53"/>
                    </a:cubicBezTo>
                    <a:cubicBezTo>
                      <a:pt x="286" y="47"/>
                      <a:pt x="293" y="40"/>
                      <a:pt x="298" y="36"/>
                    </a:cubicBezTo>
                    <a:cubicBezTo>
                      <a:pt x="298" y="35"/>
                      <a:pt x="297" y="33"/>
                      <a:pt x="296" y="32"/>
                    </a:cubicBezTo>
                    <a:cubicBezTo>
                      <a:pt x="292" y="29"/>
                      <a:pt x="289" y="19"/>
                      <a:pt x="289" y="12"/>
                    </a:cubicBezTo>
                    <a:cubicBezTo>
                      <a:pt x="289" y="8"/>
                      <a:pt x="286" y="3"/>
                      <a:pt x="284" y="0"/>
                    </a:cubicBezTo>
                    <a:cubicBezTo>
                      <a:pt x="0" y="0"/>
                      <a:pt x="0" y="0"/>
                      <a:pt x="0" y="0"/>
                    </a:cubicBezTo>
                    <a:cubicBezTo>
                      <a:pt x="2" y="37"/>
                      <a:pt x="4" y="106"/>
                      <a:pt x="5" y="117"/>
                    </a:cubicBezTo>
                    <a:cubicBezTo>
                      <a:pt x="8" y="120"/>
                      <a:pt x="17" y="130"/>
                      <a:pt x="29" y="144"/>
                    </a:cubicBezTo>
                    <a:cubicBezTo>
                      <a:pt x="39" y="154"/>
                      <a:pt x="48" y="174"/>
                      <a:pt x="56" y="191"/>
                    </a:cubicBezTo>
                    <a:cubicBezTo>
                      <a:pt x="60" y="201"/>
                      <a:pt x="63" y="209"/>
                      <a:pt x="67" y="215"/>
                    </a:cubicBezTo>
                    <a:cubicBezTo>
                      <a:pt x="79" y="235"/>
                      <a:pt x="81" y="252"/>
                      <a:pt x="72" y="261"/>
                    </a:cubicBezTo>
                    <a:cubicBezTo>
                      <a:pt x="62" y="271"/>
                      <a:pt x="27" y="342"/>
                      <a:pt x="43" y="375"/>
                    </a:cubicBezTo>
                    <a:cubicBezTo>
                      <a:pt x="50" y="374"/>
                      <a:pt x="61" y="373"/>
                      <a:pt x="76" y="373"/>
                    </a:cubicBezTo>
                    <a:cubicBezTo>
                      <a:pt x="88" y="373"/>
                      <a:pt x="102" y="374"/>
                      <a:pt x="116" y="375"/>
                    </a:cubicBezTo>
                    <a:cubicBezTo>
                      <a:pt x="147" y="376"/>
                      <a:pt x="168" y="389"/>
                      <a:pt x="180" y="400"/>
                    </a:cubicBezTo>
                    <a:cubicBezTo>
                      <a:pt x="188" y="407"/>
                      <a:pt x="209" y="413"/>
                      <a:pt x="226" y="418"/>
                    </a:cubicBezTo>
                    <a:cubicBezTo>
                      <a:pt x="236" y="421"/>
                      <a:pt x="245" y="423"/>
                      <a:pt x="250" y="426"/>
                    </a:cubicBezTo>
                    <a:cubicBezTo>
                      <a:pt x="258" y="429"/>
                      <a:pt x="262" y="435"/>
                      <a:pt x="266" y="439"/>
                    </a:cubicBezTo>
                    <a:cubicBezTo>
                      <a:pt x="269" y="443"/>
                      <a:pt x="272" y="447"/>
                      <a:pt x="278" y="449"/>
                    </a:cubicBezTo>
                    <a:cubicBezTo>
                      <a:pt x="280" y="450"/>
                      <a:pt x="282" y="451"/>
                      <a:pt x="284" y="451"/>
                    </a:cubicBezTo>
                    <a:cubicBezTo>
                      <a:pt x="286" y="451"/>
                      <a:pt x="287" y="449"/>
                      <a:pt x="290" y="441"/>
                    </a:cubicBezTo>
                    <a:cubicBezTo>
                      <a:pt x="290" y="440"/>
                      <a:pt x="290" y="440"/>
                      <a:pt x="290" y="440"/>
                    </a:cubicBezTo>
                    <a:cubicBezTo>
                      <a:pt x="291" y="436"/>
                      <a:pt x="291" y="433"/>
                      <a:pt x="289" y="430"/>
                    </a:cubicBezTo>
                    <a:cubicBezTo>
                      <a:pt x="287" y="426"/>
                      <a:pt x="282" y="423"/>
                      <a:pt x="277" y="422"/>
                    </a:cubicBezTo>
                    <a:cubicBezTo>
                      <a:pt x="265" y="419"/>
                      <a:pt x="264" y="409"/>
                      <a:pt x="264" y="404"/>
                    </a:cubicBezTo>
                    <a:cubicBezTo>
                      <a:pt x="265" y="394"/>
                      <a:pt x="275" y="391"/>
                      <a:pt x="283" y="389"/>
                    </a:cubicBezTo>
                    <a:cubicBezTo>
                      <a:pt x="286" y="388"/>
                      <a:pt x="290" y="387"/>
                      <a:pt x="291" y="386"/>
                    </a:cubicBezTo>
                    <a:cubicBezTo>
                      <a:pt x="293" y="383"/>
                      <a:pt x="297" y="382"/>
                      <a:pt x="301" y="382"/>
                    </a:cubicBezTo>
                    <a:cubicBezTo>
                      <a:pt x="307" y="382"/>
                      <a:pt x="313" y="385"/>
                      <a:pt x="319" y="391"/>
                    </a:cubicBezTo>
                    <a:cubicBezTo>
                      <a:pt x="329" y="401"/>
                      <a:pt x="326" y="415"/>
                      <a:pt x="324" y="425"/>
                    </a:cubicBezTo>
                    <a:cubicBezTo>
                      <a:pt x="323" y="428"/>
                      <a:pt x="323" y="430"/>
                      <a:pt x="323" y="432"/>
                    </a:cubicBezTo>
                    <a:cubicBezTo>
                      <a:pt x="322" y="435"/>
                      <a:pt x="326" y="439"/>
                      <a:pt x="329" y="442"/>
                    </a:cubicBezTo>
                    <a:cubicBezTo>
                      <a:pt x="332" y="445"/>
                      <a:pt x="335" y="449"/>
                      <a:pt x="337" y="453"/>
                    </a:cubicBezTo>
                    <a:cubicBezTo>
                      <a:pt x="341" y="463"/>
                      <a:pt x="333" y="468"/>
                      <a:pt x="325" y="472"/>
                    </a:cubicBezTo>
                    <a:cubicBezTo>
                      <a:pt x="324" y="473"/>
                      <a:pt x="323" y="474"/>
                      <a:pt x="321" y="475"/>
                    </a:cubicBezTo>
                    <a:cubicBezTo>
                      <a:pt x="313" y="480"/>
                      <a:pt x="313" y="493"/>
                      <a:pt x="317" y="503"/>
                    </a:cubicBezTo>
                    <a:cubicBezTo>
                      <a:pt x="317" y="503"/>
                      <a:pt x="318" y="504"/>
                      <a:pt x="319" y="504"/>
                    </a:cubicBezTo>
                    <a:cubicBezTo>
                      <a:pt x="326" y="504"/>
                      <a:pt x="342" y="491"/>
                      <a:pt x="344" y="488"/>
                    </a:cubicBezTo>
                    <a:cubicBezTo>
                      <a:pt x="346" y="484"/>
                      <a:pt x="351" y="481"/>
                      <a:pt x="355" y="478"/>
                    </a:cubicBezTo>
                    <a:cubicBezTo>
                      <a:pt x="357" y="476"/>
                      <a:pt x="360" y="474"/>
                      <a:pt x="362" y="472"/>
                    </a:cubicBezTo>
                    <a:cubicBezTo>
                      <a:pt x="365" y="469"/>
                      <a:pt x="370" y="466"/>
                      <a:pt x="375" y="462"/>
                    </a:cubicBezTo>
                    <a:cubicBezTo>
                      <a:pt x="378" y="460"/>
                      <a:pt x="381" y="459"/>
                      <a:pt x="383" y="457"/>
                    </a:cubicBezTo>
                    <a:cubicBezTo>
                      <a:pt x="386" y="455"/>
                      <a:pt x="390" y="453"/>
                      <a:pt x="394" y="453"/>
                    </a:cubicBezTo>
                    <a:cubicBezTo>
                      <a:pt x="398" y="453"/>
                      <a:pt x="401" y="455"/>
                      <a:pt x="403" y="457"/>
                    </a:cubicBezTo>
                    <a:cubicBezTo>
                      <a:pt x="406" y="460"/>
                      <a:pt x="418" y="470"/>
                      <a:pt x="422" y="474"/>
                    </a:cubicBezTo>
                    <a:cubicBezTo>
                      <a:pt x="423" y="474"/>
                      <a:pt x="423" y="474"/>
                      <a:pt x="423" y="474"/>
                    </a:cubicBezTo>
                    <a:cubicBezTo>
                      <a:pt x="429" y="479"/>
                      <a:pt x="435" y="485"/>
                      <a:pt x="434" y="496"/>
                    </a:cubicBezTo>
                    <a:cubicBezTo>
                      <a:pt x="433" y="503"/>
                      <a:pt x="436" y="513"/>
                      <a:pt x="446" y="515"/>
                    </a:cubicBezTo>
                    <a:cubicBezTo>
                      <a:pt x="451" y="516"/>
                      <a:pt x="453" y="513"/>
                      <a:pt x="455" y="504"/>
                    </a:cubicBezTo>
                    <a:cubicBezTo>
                      <a:pt x="455" y="502"/>
                      <a:pt x="455" y="501"/>
                      <a:pt x="456" y="500"/>
                    </a:cubicBezTo>
                    <a:cubicBezTo>
                      <a:pt x="456" y="497"/>
                      <a:pt x="456" y="491"/>
                      <a:pt x="453" y="487"/>
                    </a:cubicBezTo>
                    <a:cubicBezTo>
                      <a:pt x="452" y="485"/>
                      <a:pt x="450" y="484"/>
                      <a:pt x="448" y="484"/>
                    </a:cubicBezTo>
                    <a:cubicBezTo>
                      <a:pt x="439" y="483"/>
                      <a:pt x="436" y="477"/>
                      <a:pt x="434" y="472"/>
                    </a:cubicBezTo>
                    <a:cubicBezTo>
                      <a:pt x="433" y="469"/>
                      <a:pt x="431" y="466"/>
                      <a:pt x="429" y="465"/>
                    </a:cubicBezTo>
                    <a:cubicBezTo>
                      <a:pt x="420" y="459"/>
                      <a:pt x="420" y="447"/>
                      <a:pt x="420" y="439"/>
                    </a:cubicBezTo>
                    <a:cubicBezTo>
                      <a:pt x="420" y="438"/>
                      <a:pt x="420" y="436"/>
                      <a:pt x="420" y="435"/>
                    </a:cubicBezTo>
                    <a:cubicBezTo>
                      <a:pt x="419" y="432"/>
                      <a:pt x="420" y="429"/>
                      <a:pt x="422" y="427"/>
                    </a:cubicBezTo>
                    <a:cubicBezTo>
                      <a:pt x="425" y="424"/>
                      <a:pt x="430" y="423"/>
                      <a:pt x="436" y="423"/>
                    </a:cubicBezTo>
                    <a:cubicBezTo>
                      <a:pt x="448" y="423"/>
                      <a:pt x="452" y="433"/>
                      <a:pt x="455" y="441"/>
                    </a:cubicBezTo>
                    <a:cubicBezTo>
                      <a:pt x="457" y="448"/>
                      <a:pt x="461" y="452"/>
                      <a:pt x="469" y="454"/>
                    </a:cubicBezTo>
                    <a:cubicBezTo>
                      <a:pt x="476" y="457"/>
                      <a:pt x="485" y="463"/>
                      <a:pt x="489" y="473"/>
                    </a:cubicBezTo>
                    <a:cubicBezTo>
                      <a:pt x="490" y="477"/>
                      <a:pt x="508" y="483"/>
                      <a:pt x="522" y="483"/>
                    </a:cubicBezTo>
                    <a:cubicBezTo>
                      <a:pt x="523" y="483"/>
                      <a:pt x="524" y="483"/>
                      <a:pt x="525" y="483"/>
                    </a:cubicBezTo>
                    <a:cubicBezTo>
                      <a:pt x="528" y="482"/>
                      <a:pt x="530" y="482"/>
                      <a:pt x="531" y="481"/>
                    </a:cubicBezTo>
                    <a:cubicBezTo>
                      <a:pt x="533" y="480"/>
                      <a:pt x="535" y="479"/>
                      <a:pt x="539" y="479"/>
                    </a:cubicBezTo>
                    <a:cubicBezTo>
                      <a:pt x="542" y="479"/>
                      <a:pt x="546" y="480"/>
                      <a:pt x="552" y="482"/>
                    </a:cubicBezTo>
                    <a:cubicBezTo>
                      <a:pt x="560" y="486"/>
                      <a:pt x="564" y="490"/>
                      <a:pt x="567" y="493"/>
                    </a:cubicBezTo>
                    <a:cubicBezTo>
                      <a:pt x="569" y="496"/>
                      <a:pt x="570" y="497"/>
                      <a:pt x="575" y="496"/>
                    </a:cubicBezTo>
                    <a:cubicBezTo>
                      <a:pt x="575" y="496"/>
                      <a:pt x="576" y="496"/>
                      <a:pt x="576" y="496"/>
                    </a:cubicBezTo>
                    <a:cubicBezTo>
                      <a:pt x="575" y="492"/>
                      <a:pt x="566" y="481"/>
                      <a:pt x="563" y="476"/>
                    </a:cubicBezTo>
                    <a:cubicBezTo>
                      <a:pt x="561" y="473"/>
                      <a:pt x="559" y="471"/>
                      <a:pt x="558" y="469"/>
                    </a:cubicBezTo>
                    <a:cubicBezTo>
                      <a:pt x="557" y="468"/>
                      <a:pt x="555" y="466"/>
                      <a:pt x="543" y="466"/>
                    </a:cubicBezTo>
                    <a:cubicBezTo>
                      <a:pt x="540" y="466"/>
                      <a:pt x="537" y="466"/>
                      <a:pt x="534" y="466"/>
                    </a:cubicBezTo>
                    <a:cubicBezTo>
                      <a:pt x="532" y="466"/>
                      <a:pt x="530" y="466"/>
                      <a:pt x="528" y="466"/>
                    </a:cubicBezTo>
                    <a:cubicBezTo>
                      <a:pt x="521" y="466"/>
                      <a:pt x="517" y="463"/>
                      <a:pt x="514" y="461"/>
                    </a:cubicBezTo>
                    <a:cubicBezTo>
                      <a:pt x="512" y="459"/>
                      <a:pt x="510" y="457"/>
                      <a:pt x="507" y="457"/>
                    </a:cubicBezTo>
                    <a:cubicBezTo>
                      <a:pt x="501" y="456"/>
                      <a:pt x="497" y="453"/>
                      <a:pt x="492" y="449"/>
                    </a:cubicBezTo>
                    <a:cubicBezTo>
                      <a:pt x="488" y="446"/>
                      <a:pt x="484" y="443"/>
                      <a:pt x="480" y="443"/>
                    </a:cubicBezTo>
                    <a:cubicBezTo>
                      <a:pt x="468" y="442"/>
                      <a:pt x="464" y="429"/>
                      <a:pt x="464" y="422"/>
                    </a:cubicBezTo>
                    <a:cubicBezTo>
                      <a:pt x="464" y="414"/>
                      <a:pt x="472" y="412"/>
                      <a:pt x="479" y="410"/>
                    </a:cubicBezTo>
                    <a:cubicBezTo>
                      <a:pt x="481" y="409"/>
                      <a:pt x="482" y="406"/>
                      <a:pt x="481" y="400"/>
                    </a:cubicBezTo>
                    <a:cubicBezTo>
                      <a:pt x="481" y="399"/>
                      <a:pt x="481" y="398"/>
                      <a:pt x="481" y="397"/>
                    </a:cubicBezTo>
                    <a:cubicBezTo>
                      <a:pt x="481" y="391"/>
                      <a:pt x="487" y="387"/>
                      <a:pt x="492" y="387"/>
                    </a:cubicBezTo>
                    <a:cubicBezTo>
                      <a:pt x="492" y="387"/>
                      <a:pt x="492" y="386"/>
                      <a:pt x="492" y="385"/>
                    </a:cubicBezTo>
                    <a:cubicBezTo>
                      <a:pt x="492" y="375"/>
                      <a:pt x="498" y="373"/>
                      <a:pt x="500" y="373"/>
                    </a:cubicBezTo>
                    <a:cubicBezTo>
                      <a:pt x="501" y="373"/>
                      <a:pt x="503" y="374"/>
                      <a:pt x="504" y="374"/>
                    </a:cubicBezTo>
                    <a:cubicBezTo>
                      <a:pt x="505" y="374"/>
                      <a:pt x="506" y="375"/>
                      <a:pt x="507" y="375"/>
                    </a:cubicBezTo>
                    <a:cubicBezTo>
                      <a:pt x="512" y="375"/>
                      <a:pt x="519" y="371"/>
                      <a:pt x="520" y="368"/>
                    </a:cubicBezTo>
                    <a:cubicBezTo>
                      <a:pt x="521" y="365"/>
                      <a:pt x="519" y="362"/>
                      <a:pt x="516" y="358"/>
                    </a:cubicBezTo>
                    <a:cubicBezTo>
                      <a:pt x="515" y="357"/>
                      <a:pt x="514" y="355"/>
                      <a:pt x="513" y="354"/>
                    </a:cubicBezTo>
                    <a:cubicBezTo>
                      <a:pt x="511" y="351"/>
                      <a:pt x="498" y="348"/>
                      <a:pt x="486" y="348"/>
                    </a:cubicBezTo>
                    <a:cubicBezTo>
                      <a:pt x="482" y="348"/>
                      <a:pt x="477" y="349"/>
                      <a:pt x="475" y="368"/>
                    </a:cubicBezTo>
                    <a:cubicBezTo>
                      <a:pt x="474" y="385"/>
                      <a:pt x="470" y="389"/>
                      <a:pt x="454" y="393"/>
                    </a:cubicBezTo>
                    <a:cubicBezTo>
                      <a:pt x="452" y="394"/>
                      <a:pt x="450" y="394"/>
                      <a:pt x="449" y="394"/>
                    </a:cubicBezTo>
                    <a:cubicBezTo>
                      <a:pt x="434" y="394"/>
                      <a:pt x="430" y="374"/>
                      <a:pt x="430" y="373"/>
                    </a:cubicBezTo>
                    <a:cubicBezTo>
                      <a:pt x="430" y="373"/>
                      <a:pt x="430" y="372"/>
                      <a:pt x="430" y="372"/>
                    </a:cubicBezTo>
                    <a:cubicBezTo>
                      <a:pt x="430" y="368"/>
                      <a:pt x="419" y="359"/>
                      <a:pt x="412" y="357"/>
                    </a:cubicBezTo>
                    <a:cubicBezTo>
                      <a:pt x="402" y="354"/>
                      <a:pt x="387" y="349"/>
                      <a:pt x="382" y="334"/>
                    </a:cubicBezTo>
                    <a:cubicBezTo>
                      <a:pt x="381" y="328"/>
                      <a:pt x="381" y="323"/>
                      <a:pt x="384" y="319"/>
                    </a:cubicBezTo>
                    <a:cubicBezTo>
                      <a:pt x="387" y="314"/>
                      <a:pt x="393" y="310"/>
                      <a:pt x="403" y="308"/>
                    </a:cubicBezTo>
                    <a:cubicBezTo>
                      <a:pt x="407" y="308"/>
                      <a:pt x="411" y="307"/>
                      <a:pt x="415" y="307"/>
                    </a:cubicBezTo>
                    <a:cubicBezTo>
                      <a:pt x="431" y="307"/>
                      <a:pt x="449" y="311"/>
                      <a:pt x="466" y="315"/>
                    </a:cubicBezTo>
                    <a:cubicBezTo>
                      <a:pt x="471" y="316"/>
                      <a:pt x="475" y="317"/>
                      <a:pt x="480" y="318"/>
                    </a:cubicBezTo>
                    <a:cubicBezTo>
                      <a:pt x="474" y="312"/>
                      <a:pt x="467" y="305"/>
                      <a:pt x="461" y="299"/>
                    </a:cubicBezTo>
                    <a:cubicBezTo>
                      <a:pt x="458" y="295"/>
                      <a:pt x="454" y="292"/>
                      <a:pt x="452" y="290"/>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11">
                <a:extLst>
                  <a:ext uri="{FF2B5EF4-FFF2-40B4-BE49-F238E27FC236}">
                    <a16:creationId xmlns:a16="http://schemas.microsoft.com/office/drawing/2014/main" id="{F450A076-284D-4876-A202-CAF683F8EDA2}"/>
                  </a:ext>
                </a:extLst>
              </p:cNvPr>
              <p:cNvSpPr>
                <a:spLocks/>
              </p:cNvSpPr>
              <p:nvPr/>
            </p:nvSpPr>
            <p:spPr bwMode="auto">
              <a:xfrm>
                <a:off x="4630" y="2638"/>
                <a:ext cx="385" cy="718"/>
              </a:xfrm>
              <a:custGeom>
                <a:avLst/>
                <a:gdLst>
                  <a:gd name="T0" fmla="*/ 287 w 328"/>
                  <a:gd name="T1" fmla="*/ 0 h 610"/>
                  <a:gd name="T2" fmla="*/ 263 w 328"/>
                  <a:gd name="T3" fmla="*/ 3 h 610"/>
                  <a:gd name="T4" fmla="*/ 195 w 328"/>
                  <a:gd name="T5" fmla="*/ 6 h 610"/>
                  <a:gd name="T6" fmla="*/ 67 w 328"/>
                  <a:gd name="T7" fmla="*/ 3 h 610"/>
                  <a:gd name="T8" fmla="*/ 61 w 328"/>
                  <a:gd name="T9" fmla="*/ 55 h 610"/>
                  <a:gd name="T10" fmla="*/ 43 w 328"/>
                  <a:gd name="T11" fmla="*/ 77 h 610"/>
                  <a:gd name="T12" fmla="*/ 32 w 328"/>
                  <a:gd name="T13" fmla="*/ 86 h 610"/>
                  <a:gd name="T14" fmla="*/ 38 w 328"/>
                  <a:gd name="T15" fmla="*/ 99 h 610"/>
                  <a:gd name="T16" fmla="*/ 46 w 328"/>
                  <a:gd name="T17" fmla="*/ 110 h 610"/>
                  <a:gd name="T18" fmla="*/ 34 w 328"/>
                  <a:gd name="T19" fmla="*/ 138 h 610"/>
                  <a:gd name="T20" fmla="*/ 28 w 328"/>
                  <a:gd name="T21" fmla="*/ 146 h 610"/>
                  <a:gd name="T22" fmla="*/ 25 w 328"/>
                  <a:gd name="T23" fmla="*/ 195 h 610"/>
                  <a:gd name="T24" fmla="*/ 25 w 328"/>
                  <a:gd name="T25" fmla="*/ 200 h 610"/>
                  <a:gd name="T26" fmla="*/ 34 w 328"/>
                  <a:gd name="T27" fmla="*/ 221 h 610"/>
                  <a:gd name="T28" fmla="*/ 34 w 328"/>
                  <a:gd name="T29" fmla="*/ 222 h 610"/>
                  <a:gd name="T30" fmla="*/ 34 w 328"/>
                  <a:gd name="T31" fmla="*/ 231 h 610"/>
                  <a:gd name="T32" fmla="*/ 33 w 328"/>
                  <a:gd name="T33" fmla="*/ 254 h 610"/>
                  <a:gd name="T34" fmla="*/ 34 w 328"/>
                  <a:gd name="T35" fmla="*/ 286 h 610"/>
                  <a:gd name="T36" fmla="*/ 40 w 328"/>
                  <a:gd name="T37" fmla="*/ 303 h 610"/>
                  <a:gd name="T38" fmla="*/ 44 w 328"/>
                  <a:gd name="T39" fmla="*/ 317 h 610"/>
                  <a:gd name="T40" fmla="*/ 49 w 328"/>
                  <a:gd name="T41" fmla="*/ 327 h 610"/>
                  <a:gd name="T42" fmla="*/ 46 w 328"/>
                  <a:gd name="T43" fmla="*/ 333 h 610"/>
                  <a:gd name="T44" fmla="*/ 38 w 328"/>
                  <a:gd name="T45" fmla="*/ 343 h 610"/>
                  <a:gd name="T46" fmla="*/ 41 w 328"/>
                  <a:gd name="T47" fmla="*/ 345 h 610"/>
                  <a:gd name="T48" fmla="*/ 51 w 328"/>
                  <a:gd name="T49" fmla="*/ 356 h 610"/>
                  <a:gd name="T50" fmla="*/ 39 w 328"/>
                  <a:gd name="T51" fmla="*/ 380 h 610"/>
                  <a:gd name="T52" fmla="*/ 35 w 328"/>
                  <a:gd name="T53" fmla="*/ 384 h 610"/>
                  <a:gd name="T54" fmla="*/ 29 w 328"/>
                  <a:gd name="T55" fmla="*/ 396 h 610"/>
                  <a:gd name="T56" fmla="*/ 29 w 328"/>
                  <a:gd name="T57" fmla="*/ 401 h 610"/>
                  <a:gd name="T58" fmla="*/ 25 w 328"/>
                  <a:gd name="T59" fmla="*/ 437 h 610"/>
                  <a:gd name="T60" fmla="*/ 16 w 328"/>
                  <a:gd name="T61" fmla="*/ 461 h 610"/>
                  <a:gd name="T62" fmla="*/ 11 w 328"/>
                  <a:gd name="T63" fmla="*/ 470 h 610"/>
                  <a:gd name="T64" fmla="*/ 4 w 328"/>
                  <a:gd name="T65" fmla="*/ 485 h 610"/>
                  <a:gd name="T66" fmla="*/ 0 w 328"/>
                  <a:gd name="T67" fmla="*/ 493 h 610"/>
                  <a:gd name="T68" fmla="*/ 0 w 328"/>
                  <a:gd name="T69" fmla="*/ 502 h 610"/>
                  <a:gd name="T70" fmla="*/ 177 w 328"/>
                  <a:gd name="T71" fmla="*/ 500 h 610"/>
                  <a:gd name="T72" fmla="*/ 193 w 328"/>
                  <a:gd name="T73" fmla="*/ 505 h 610"/>
                  <a:gd name="T74" fmla="*/ 194 w 328"/>
                  <a:gd name="T75" fmla="*/ 518 h 610"/>
                  <a:gd name="T76" fmla="*/ 190 w 328"/>
                  <a:gd name="T77" fmla="*/ 529 h 610"/>
                  <a:gd name="T78" fmla="*/ 186 w 328"/>
                  <a:gd name="T79" fmla="*/ 547 h 610"/>
                  <a:gd name="T80" fmla="*/ 196 w 328"/>
                  <a:gd name="T81" fmla="*/ 571 h 610"/>
                  <a:gd name="T82" fmla="*/ 201 w 328"/>
                  <a:gd name="T83" fmla="*/ 575 h 610"/>
                  <a:gd name="T84" fmla="*/ 210 w 328"/>
                  <a:gd name="T85" fmla="*/ 584 h 610"/>
                  <a:gd name="T86" fmla="*/ 233 w 328"/>
                  <a:gd name="T87" fmla="*/ 610 h 610"/>
                  <a:gd name="T88" fmla="*/ 250 w 328"/>
                  <a:gd name="T89" fmla="*/ 593 h 610"/>
                  <a:gd name="T90" fmla="*/ 251 w 328"/>
                  <a:gd name="T91" fmla="*/ 591 h 610"/>
                  <a:gd name="T92" fmla="*/ 277 w 328"/>
                  <a:gd name="T93" fmla="*/ 572 h 610"/>
                  <a:gd name="T94" fmla="*/ 284 w 328"/>
                  <a:gd name="T95" fmla="*/ 569 h 610"/>
                  <a:gd name="T96" fmla="*/ 316 w 328"/>
                  <a:gd name="T97" fmla="*/ 561 h 610"/>
                  <a:gd name="T98" fmla="*/ 328 w 328"/>
                  <a:gd name="T99" fmla="*/ 560 h 610"/>
                  <a:gd name="T100" fmla="*/ 287 w 328"/>
                  <a:gd name="T101" fmla="*/ 362 h 610"/>
                  <a:gd name="T102" fmla="*/ 287 w 328"/>
                  <a:gd name="T103"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 h="610">
                    <a:moveTo>
                      <a:pt x="287" y="0"/>
                    </a:moveTo>
                    <a:cubicBezTo>
                      <a:pt x="277" y="1"/>
                      <a:pt x="269" y="3"/>
                      <a:pt x="263" y="3"/>
                    </a:cubicBezTo>
                    <a:cubicBezTo>
                      <a:pt x="251" y="5"/>
                      <a:pt x="224" y="6"/>
                      <a:pt x="195" y="6"/>
                    </a:cubicBezTo>
                    <a:cubicBezTo>
                      <a:pt x="143" y="6"/>
                      <a:pt x="82" y="4"/>
                      <a:pt x="67" y="3"/>
                    </a:cubicBezTo>
                    <a:cubicBezTo>
                      <a:pt x="63" y="21"/>
                      <a:pt x="61" y="47"/>
                      <a:pt x="61" y="55"/>
                    </a:cubicBezTo>
                    <a:cubicBezTo>
                      <a:pt x="61" y="63"/>
                      <a:pt x="52" y="70"/>
                      <a:pt x="43" y="77"/>
                    </a:cubicBezTo>
                    <a:cubicBezTo>
                      <a:pt x="39" y="80"/>
                      <a:pt x="35" y="83"/>
                      <a:pt x="32" y="86"/>
                    </a:cubicBezTo>
                    <a:cubicBezTo>
                      <a:pt x="29" y="88"/>
                      <a:pt x="30" y="91"/>
                      <a:pt x="38" y="99"/>
                    </a:cubicBezTo>
                    <a:cubicBezTo>
                      <a:pt x="41" y="103"/>
                      <a:pt x="44" y="106"/>
                      <a:pt x="46" y="110"/>
                    </a:cubicBezTo>
                    <a:cubicBezTo>
                      <a:pt x="49" y="119"/>
                      <a:pt x="41" y="129"/>
                      <a:pt x="34" y="138"/>
                    </a:cubicBezTo>
                    <a:cubicBezTo>
                      <a:pt x="32" y="141"/>
                      <a:pt x="29" y="144"/>
                      <a:pt x="28" y="146"/>
                    </a:cubicBezTo>
                    <a:cubicBezTo>
                      <a:pt x="26" y="150"/>
                      <a:pt x="25" y="167"/>
                      <a:pt x="25" y="195"/>
                    </a:cubicBezTo>
                    <a:cubicBezTo>
                      <a:pt x="25" y="197"/>
                      <a:pt x="25" y="199"/>
                      <a:pt x="25" y="200"/>
                    </a:cubicBezTo>
                    <a:cubicBezTo>
                      <a:pt x="25" y="206"/>
                      <a:pt x="31" y="216"/>
                      <a:pt x="34" y="221"/>
                    </a:cubicBezTo>
                    <a:cubicBezTo>
                      <a:pt x="34" y="222"/>
                      <a:pt x="34" y="222"/>
                      <a:pt x="34" y="222"/>
                    </a:cubicBezTo>
                    <a:cubicBezTo>
                      <a:pt x="36" y="225"/>
                      <a:pt x="35" y="228"/>
                      <a:pt x="34" y="231"/>
                    </a:cubicBezTo>
                    <a:cubicBezTo>
                      <a:pt x="33" y="235"/>
                      <a:pt x="31" y="241"/>
                      <a:pt x="33" y="254"/>
                    </a:cubicBezTo>
                    <a:cubicBezTo>
                      <a:pt x="36" y="272"/>
                      <a:pt x="35" y="282"/>
                      <a:pt x="34" y="286"/>
                    </a:cubicBezTo>
                    <a:cubicBezTo>
                      <a:pt x="36" y="290"/>
                      <a:pt x="40" y="297"/>
                      <a:pt x="40" y="303"/>
                    </a:cubicBezTo>
                    <a:cubicBezTo>
                      <a:pt x="40" y="310"/>
                      <a:pt x="42" y="316"/>
                      <a:pt x="44" y="317"/>
                    </a:cubicBezTo>
                    <a:cubicBezTo>
                      <a:pt x="47" y="319"/>
                      <a:pt x="49" y="323"/>
                      <a:pt x="49" y="327"/>
                    </a:cubicBezTo>
                    <a:cubicBezTo>
                      <a:pt x="49" y="330"/>
                      <a:pt x="48" y="332"/>
                      <a:pt x="46" y="333"/>
                    </a:cubicBezTo>
                    <a:cubicBezTo>
                      <a:pt x="42" y="337"/>
                      <a:pt x="39" y="341"/>
                      <a:pt x="38" y="343"/>
                    </a:cubicBezTo>
                    <a:cubicBezTo>
                      <a:pt x="39" y="343"/>
                      <a:pt x="40" y="344"/>
                      <a:pt x="41" y="345"/>
                    </a:cubicBezTo>
                    <a:cubicBezTo>
                      <a:pt x="45" y="347"/>
                      <a:pt x="51" y="350"/>
                      <a:pt x="51" y="356"/>
                    </a:cubicBezTo>
                    <a:cubicBezTo>
                      <a:pt x="51" y="363"/>
                      <a:pt x="44" y="374"/>
                      <a:pt x="39" y="380"/>
                    </a:cubicBezTo>
                    <a:cubicBezTo>
                      <a:pt x="38" y="381"/>
                      <a:pt x="37" y="382"/>
                      <a:pt x="35" y="384"/>
                    </a:cubicBezTo>
                    <a:cubicBezTo>
                      <a:pt x="32" y="388"/>
                      <a:pt x="29" y="390"/>
                      <a:pt x="29" y="396"/>
                    </a:cubicBezTo>
                    <a:cubicBezTo>
                      <a:pt x="29" y="398"/>
                      <a:pt x="29" y="399"/>
                      <a:pt x="29" y="401"/>
                    </a:cubicBezTo>
                    <a:cubicBezTo>
                      <a:pt x="28" y="411"/>
                      <a:pt x="28" y="425"/>
                      <a:pt x="25" y="437"/>
                    </a:cubicBezTo>
                    <a:cubicBezTo>
                      <a:pt x="21" y="451"/>
                      <a:pt x="19" y="456"/>
                      <a:pt x="16" y="461"/>
                    </a:cubicBezTo>
                    <a:cubicBezTo>
                      <a:pt x="13" y="464"/>
                      <a:pt x="11" y="469"/>
                      <a:pt x="11" y="470"/>
                    </a:cubicBezTo>
                    <a:cubicBezTo>
                      <a:pt x="11" y="473"/>
                      <a:pt x="11" y="481"/>
                      <a:pt x="4" y="485"/>
                    </a:cubicBezTo>
                    <a:cubicBezTo>
                      <a:pt x="1" y="487"/>
                      <a:pt x="0" y="488"/>
                      <a:pt x="0" y="493"/>
                    </a:cubicBezTo>
                    <a:cubicBezTo>
                      <a:pt x="0" y="496"/>
                      <a:pt x="0" y="499"/>
                      <a:pt x="0" y="502"/>
                    </a:cubicBezTo>
                    <a:cubicBezTo>
                      <a:pt x="177" y="500"/>
                      <a:pt x="177" y="500"/>
                      <a:pt x="177" y="500"/>
                    </a:cubicBezTo>
                    <a:cubicBezTo>
                      <a:pt x="178" y="500"/>
                      <a:pt x="188" y="499"/>
                      <a:pt x="193" y="505"/>
                    </a:cubicBezTo>
                    <a:cubicBezTo>
                      <a:pt x="195" y="508"/>
                      <a:pt x="196" y="512"/>
                      <a:pt x="194" y="518"/>
                    </a:cubicBezTo>
                    <a:cubicBezTo>
                      <a:pt x="192" y="524"/>
                      <a:pt x="191" y="527"/>
                      <a:pt x="190" y="529"/>
                    </a:cubicBezTo>
                    <a:cubicBezTo>
                      <a:pt x="188" y="532"/>
                      <a:pt x="187" y="534"/>
                      <a:pt x="186" y="547"/>
                    </a:cubicBezTo>
                    <a:cubicBezTo>
                      <a:pt x="186" y="562"/>
                      <a:pt x="191" y="566"/>
                      <a:pt x="196" y="571"/>
                    </a:cubicBezTo>
                    <a:cubicBezTo>
                      <a:pt x="198" y="572"/>
                      <a:pt x="200" y="574"/>
                      <a:pt x="201" y="575"/>
                    </a:cubicBezTo>
                    <a:cubicBezTo>
                      <a:pt x="203" y="577"/>
                      <a:pt x="206" y="580"/>
                      <a:pt x="210" y="584"/>
                    </a:cubicBezTo>
                    <a:cubicBezTo>
                      <a:pt x="218" y="592"/>
                      <a:pt x="228" y="602"/>
                      <a:pt x="233" y="610"/>
                    </a:cubicBezTo>
                    <a:cubicBezTo>
                      <a:pt x="244" y="609"/>
                      <a:pt x="247" y="600"/>
                      <a:pt x="250" y="593"/>
                    </a:cubicBezTo>
                    <a:cubicBezTo>
                      <a:pt x="251" y="591"/>
                      <a:pt x="251" y="591"/>
                      <a:pt x="251" y="591"/>
                    </a:cubicBezTo>
                    <a:cubicBezTo>
                      <a:pt x="255" y="580"/>
                      <a:pt x="264" y="574"/>
                      <a:pt x="277" y="572"/>
                    </a:cubicBezTo>
                    <a:cubicBezTo>
                      <a:pt x="280" y="571"/>
                      <a:pt x="282" y="571"/>
                      <a:pt x="284" y="569"/>
                    </a:cubicBezTo>
                    <a:cubicBezTo>
                      <a:pt x="289" y="566"/>
                      <a:pt x="295" y="563"/>
                      <a:pt x="316" y="561"/>
                    </a:cubicBezTo>
                    <a:cubicBezTo>
                      <a:pt x="321" y="560"/>
                      <a:pt x="325" y="560"/>
                      <a:pt x="328" y="560"/>
                    </a:cubicBezTo>
                    <a:cubicBezTo>
                      <a:pt x="321" y="531"/>
                      <a:pt x="287" y="382"/>
                      <a:pt x="287" y="362"/>
                    </a:cubicBezTo>
                    <a:cubicBezTo>
                      <a:pt x="287" y="342"/>
                      <a:pt x="287" y="41"/>
                      <a:pt x="2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2">
                <a:extLst>
                  <a:ext uri="{FF2B5EF4-FFF2-40B4-BE49-F238E27FC236}">
                    <a16:creationId xmlns:a16="http://schemas.microsoft.com/office/drawing/2014/main" id="{BB17D0DB-FF8C-45F2-B179-CD653EE82027}"/>
                  </a:ext>
                </a:extLst>
              </p:cNvPr>
              <p:cNvSpPr>
                <a:spLocks/>
              </p:cNvSpPr>
              <p:nvPr/>
            </p:nvSpPr>
            <p:spPr bwMode="auto">
              <a:xfrm>
                <a:off x="2571" y="2426"/>
                <a:ext cx="729" cy="774"/>
              </a:xfrm>
              <a:custGeom>
                <a:avLst/>
                <a:gdLst>
                  <a:gd name="T0" fmla="*/ 620 w 620"/>
                  <a:gd name="T1" fmla="*/ 0 h 658"/>
                  <a:gd name="T2" fmla="*/ 59 w 620"/>
                  <a:gd name="T3" fmla="*/ 0 h 658"/>
                  <a:gd name="T4" fmla="*/ 0 w 620"/>
                  <a:gd name="T5" fmla="*/ 658 h 658"/>
                  <a:gd name="T6" fmla="*/ 38 w 620"/>
                  <a:gd name="T7" fmla="*/ 657 h 658"/>
                  <a:gd name="T8" fmla="*/ 48 w 620"/>
                  <a:gd name="T9" fmla="*/ 658 h 658"/>
                  <a:gd name="T10" fmla="*/ 53 w 620"/>
                  <a:gd name="T11" fmla="*/ 658 h 658"/>
                  <a:gd name="T12" fmla="*/ 78 w 620"/>
                  <a:gd name="T13" fmla="*/ 648 h 658"/>
                  <a:gd name="T14" fmla="*/ 81 w 620"/>
                  <a:gd name="T15" fmla="*/ 644 h 658"/>
                  <a:gd name="T16" fmla="*/ 106 w 620"/>
                  <a:gd name="T17" fmla="*/ 615 h 658"/>
                  <a:gd name="T18" fmla="*/ 131 w 620"/>
                  <a:gd name="T19" fmla="*/ 615 h 658"/>
                  <a:gd name="T20" fmla="*/ 250 w 620"/>
                  <a:gd name="T21" fmla="*/ 617 h 658"/>
                  <a:gd name="T22" fmla="*/ 260 w 620"/>
                  <a:gd name="T23" fmla="*/ 616 h 658"/>
                  <a:gd name="T24" fmla="*/ 276 w 620"/>
                  <a:gd name="T25" fmla="*/ 615 h 658"/>
                  <a:gd name="T26" fmla="*/ 305 w 620"/>
                  <a:gd name="T27" fmla="*/ 624 h 658"/>
                  <a:gd name="T28" fmla="*/ 305 w 620"/>
                  <a:gd name="T29" fmla="*/ 602 h 658"/>
                  <a:gd name="T30" fmla="*/ 309 w 620"/>
                  <a:gd name="T31" fmla="*/ 598 h 658"/>
                  <a:gd name="T32" fmla="*/ 620 w 620"/>
                  <a:gd name="T33" fmla="*/ 598 h 658"/>
                  <a:gd name="T34" fmla="*/ 620 w 620"/>
                  <a:gd name="T35"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0" h="658">
                    <a:moveTo>
                      <a:pt x="620" y="0"/>
                    </a:moveTo>
                    <a:cubicBezTo>
                      <a:pt x="59" y="0"/>
                      <a:pt x="59" y="0"/>
                      <a:pt x="59" y="0"/>
                    </a:cubicBezTo>
                    <a:cubicBezTo>
                      <a:pt x="0" y="658"/>
                      <a:pt x="0" y="658"/>
                      <a:pt x="0" y="658"/>
                    </a:cubicBezTo>
                    <a:cubicBezTo>
                      <a:pt x="16" y="658"/>
                      <a:pt x="29" y="657"/>
                      <a:pt x="38" y="657"/>
                    </a:cubicBezTo>
                    <a:cubicBezTo>
                      <a:pt x="43" y="657"/>
                      <a:pt x="46" y="657"/>
                      <a:pt x="48" y="658"/>
                    </a:cubicBezTo>
                    <a:cubicBezTo>
                      <a:pt x="50" y="658"/>
                      <a:pt x="51" y="658"/>
                      <a:pt x="53" y="658"/>
                    </a:cubicBezTo>
                    <a:cubicBezTo>
                      <a:pt x="67" y="658"/>
                      <a:pt x="76" y="652"/>
                      <a:pt x="78" y="648"/>
                    </a:cubicBezTo>
                    <a:cubicBezTo>
                      <a:pt x="79" y="647"/>
                      <a:pt x="80" y="645"/>
                      <a:pt x="81" y="644"/>
                    </a:cubicBezTo>
                    <a:cubicBezTo>
                      <a:pt x="88" y="631"/>
                      <a:pt x="96" y="617"/>
                      <a:pt x="106" y="615"/>
                    </a:cubicBezTo>
                    <a:cubicBezTo>
                      <a:pt x="107" y="615"/>
                      <a:pt x="110" y="615"/>
                      <a:pt x="131" y="615"/>
                    </a:cubicBezTo>
                    <a:cubicBezTo>
                      <a:pt x="169" y="615"/>
                      <a:pt x="242" y="616"/>
                      <a:pt x="250" y="617"/>
                    </a:cubicBezTo>
                    <a:cubicBezTo>
                      <a:pt x="253" y="617"/>
                      <a:pt x="256" y="617"/>
                      <a:pt x="260" y="616"/>
                    </a:cubicBezTo>
                    <a:cubicBezTo>
                      <a:pt x="264" y="615"/>
                      <a:pt x="270" y="615"/>
                      <a:pt x="276" y="615"/>
                    </a:cubicBezTo>
                    <a:cubicBezTo>
                      <a:pt x="288" y="615"/>
                      <a:pt x="298" y="618"/>
                      <a:pt x="305" y="624"/>
                    </a:cubicBezTo>
                    <a:cubicBezTo>
                      <a:pt x="305" y="602"/>
                      <a:pt x="305" y="602"/>
                      <a:pt x="305" y="602"/>
                    </a:cubicBezTo>
                    <a:cubicBezTo>
                      <a:pt x="305" y="600"/>
                      <a:pt x="307" y="598"/>
                      <a:pt x="309" y="598"/>
                    </a:cubicBezTo>
                    <a:cubicBezTo>
                      <a:pt x="620" y="598"/>
                      <a:pt x="620" y="598"/>
                      <a:pt x="620" y="598"/>
                    </a:cubicBezTo>
                    <a:lnTo>
                      <a:pt x="6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3">
                <a:extLst>
                  <a:ext uri="{FF2B5EF4-FFF2-40B4-BE49-F238E27FC236}">
                    <a16:creationId xmlns:a16="http://schemas.microsoft.com/office/drawing/2014/main" id="{8F94577B-B36D-4DD3-AFEA-FB7B315BBD18}"/>
                  </a:ext>
                </a:extLst>
              </p:cNvPr>
              <p:cNvSpPr>
                <a:spLocks/>
              </p:cNvSpPr>
              <p:nvPr/>
            </p:nvSpPr>
            <p:spPr bwMode="auto">
              <a:xfrm>
                <a:off x="5112" y="3120"/>
                <a:ext cx="991" cy="777"/>
              </a:xfrm>
              <a:custGeom>
                <a:avLst/>
                <a:gdLst>
                  <a:gd name="T0" fmla="*/ 562 w 843"/>
                  <a:gd name="T1" fmla="*/ 11 h 660"/>
                  <a:gd name="T2" fmla="*/ 569 w 843"/>
                  <a:gd name="T3" fmla="*/ 54 h 660"/>
                  <a:gd name="T4" fmla="*/ 525 w 843"/>
                  <a:gd name="T5" fmla="*/ 37 h 660"/>
                  <a:gd name="T6" fmla="*/ 354 w 843"/>
                  <a:gd name="T7" fmla="*/ 51 h 660"/>
                  <a:gd name="T8" fmla="*/ 274 w 843"/>
                  <a:gd name="T9" fmla="*/ 53 h 660"/>
                  <a:gd name="T10" fmla="*/ 105 w 843"/>
                  <a:gd name="T11" fmla="*/ 62 h 660"/>
                  <a:gd name="T12" fmla="*/ 1 w 843"/>
                  <a:gd name="T13" fmla="*/ 88 h 660"/>
                  <a:gd name="T14" fmla="*/ 39 w 843"/>
                  <a:gd name="T15" fmla="*/ 117 h 660"/>
                  <a:gd name="T16" fmla="*/ 51 w 843"/>
                  <a:gd name="T17" fmla="*/ 105 h 660"/>
                  <a:gd name="T18" fmla="*/ 84 w 843"/>
                  <a:gd name="T19" fmla="*/ 108 h 660"/>
                  <a:gd name="T20" fmla="*/ 110 w 843"/>
                  <a:gd name="T21" fmla="*/ 98 h 660"/>
                  <a:gd name="T22" fmla="*/ 132 w 843"/>
                  <a:gd name="T23" fmla="*/ 95 h 660"/>
                  <a:gd name="T24" fmla="*/ 152 w 843"/>
                  <a:gd name="T25" fmla="*/ 106 h 660"/>
                  <a:gd name="T26" fmla="*/ 147 w 843"/>
                  <a:gd name="T27" fmla="*/ 117 h 660"/>
                  <a:gd name="T28" fmla="*/ 192 w 843"/>
                  <a:gd name="T29" fmla="*/ 131 h 660"/>
                  <a:gd name="T30" fmla="*/ 247 w 843"/>
                  <a:gd name="T31" fmla="*/ 172 h 660"/>
                  <a:gd name="T32" fmla="*/ 300 w 843"/>
                  <a:gd name="T33" fmla="*/ 146 h 660"/>
                  <a:gd name="T34" fmla="*/ 312 w 843"/>
                  <a:gd name="T35" fmla="*/ 126 h 660"/>
                  <a:gd name="T36" fmla="*/ 337 w 843"/>
                  <a:gd name="T37" fmla="*/ 117 h 660"/>
                  <a:gd name="T38" fmla="*/ 356 w 843"/>
                  <a:gd name="T39" fmla="*/ 112 h 660"/>
                  <a:gd name="T40" fmla="*/ 390 w 843"/>
                  <a:gd name="T41" fmla="*/ 111 h 660"/>
                  <a:gd name="T42" fmla="*/ 434 w 843"/>
                  <a:gd name="T43" fmla="*/ 156 h 660"/>
                  <a:gd name="T44" fmla="*/ 495 w 843"/>
                  <a:gd name="T45" fmla="*/ 173 h 660"/>
                  <a:gd name="T46" fmla="*/ 506 w 843"/>
                  <a:gd name="T47" fmla="*/ 273 h 660"/>
                  <a:gd name="T48" fmla="*/ 517 w 843"/>
                  <a:gd name="T49" fmla="*/ 332 h 660"/>
                  <a:gd name="T50" fmla="*/ 549 w 843"/>
                  <a:gd name="T51" fmla="*/ 360 h 660"/>
                  <a:gd name="T52" fmla="*/ 562 w 843"/>
                  <a:gd name="T53" fmla="*/ 398 h 660"/>
                  <a:gd name="T54" fmla="*/ 622 w 843"/>
                  <a:gd name="T55" fmla="*/ 478 h 660"/>
                  <a:gd name="T56" fmla="*/ 632 w 843"/>
                  <a:gd name="T57" fmla="*/ 534 h 660"/>
                  <a:gd name="T58" fmla="*/ 681 w 843"/>
                  <a:gd name="T59" fmla="*/ 577 h 660"/>
                  <a:gd name="T60" fmla="*/ 726 w 843"/>
                  <a:gd name="T61" fmla="*/ 597 h 660"/>
                  <a:gd name="T62" fmla="*/ 741 w 843"/>
                  <a:gd name="T63" fmla="*/ 638 h 660"/>
                  <a:gd name="T64" fmla="*/ 757 w 843"/>
                  <a:gd name="T65" fmla="*/ 657 h 660"/>
                  <a:gd name="T66" fmla="*/ 774 w 843"/>
                  <a:gd name="T67" fmla="*/ 654 h 660"/>
                  <a:gd name="T68" fmla="*/ 799 w 843"/>
                  <a:gd name="T69" fmla="*/ 644 h 660"/>
                  <a:gd name="T70" fmla="*/ 827 w 843"/>
                  <a:gd name="T71" fmla="*/ 634 h 660"/>
                  <a:gd name="T72" fmla="*/ 824 w 843"/>
                  <a:gd name="T73" fmla="*/ 617 h 660"/>
                  <a:gd name="T74" fmla="*/ 837 w 843"/>
                  <a:gd name="T75" fmla="*/ 565 h 660"/>
                  <a:gd name="T76" fmla="*/ 838 w 843"/>
                  <a:gd name="T77" fmla="*/ 492 h 660"/>
                  <a:gd name="T78" fmla="*/ 810 w 843"/>
                  <a:gd name="T79" fmla="*/ 397 h 660"/>
                  <a:gd name="T80" fmla="*/ 759 w 843"/>
                  <a:gd name="T81" fmla="*/ 289 h 660"/>
                  <a:gd name="T82" fmla="*/ 728 w 843"/>
                  <a:gd name="T83" fmla="*/ 209 h 660"/>
                  <a:gd name="T84" fmla="*/ 706 w 843"/>
                  <a:gd name="T85" fmla="*/ 194 h 660"/>
                  <a:gd name="T86" fmla="*/ 686 w 843"/>
                  <a:gd name="T87" fmla="*/ 163 h 660"/>
                  <a:gd name="T88" fmla="*/ 655 w 843"/>
                  <a:gd name="T89" fmla="*/ 115 h 660"/>
                  <a:gd name="T90" fmla="*/ 619 w 843"/>
                  <a:gd name="T91" fmla="*/ 60 h 660"/>
                  <a:gd name="T92" fmla="*/ 609 w 843"/>
                  <a:gd name="T93" fmla="*/ 13 h 660"/>
                  <a:gd name="T94" fmla="*/ 557 w 843"/>
                  <a:gd name="T9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3" h="660">
                    <a:moveTo>
                      <a:pt x="557" y="0"/>
                    </a:moveTo>
                    <a:cubicBezTo>
                      <a:pt x="557" y="2"/>
                      <a:pt x="560" y="7"/>
                      <a:pt x="562" y="11"/>
                    </a:cubicBezTo>
                    <a:cubicBezTo>
                      <a:pt x="565" y="19"/>
                      <a:pt x="570" y="29"/>
                      <a:pt x="572" y="40"/>
                    </a:cubicBezTo>
                    <a:cubicBezTo>
                      <a:pt x="573" y="45"/>
                      <a:pt x="573" y="51"/>
                      <a:pt x="569" y="54"/>
                    </a:cubicBezTo>
                    <a:cubicBezTo>
                      <a:pt x="564" y="58"/>
                      <a:pt x="557" y="53"/>
                      <a:pt x="547" y="48"/>
                    </a:cubicBezTo>
                    <a:cubicBezTo>
                      <a:pt x="540" y="44"/>
                      <a:pt x="533" y="39"/>
                      <a:pt x="525" y="37"/>
                    </a:cubicBezTo>
                    <a:cubicBezTo>
                      <a:pt x="504" y="30"/>
                      <a:pt x="454" y="35"/>
                      <a:pt x="432" y="44"/>
                    </a:cubicBezTo>
                    <a:cubicBezTo>
                      <a:pt x="417" y="51"/>
                      <a:pt x="385" y="51"/>
                      <a:pt x="354" y="51"/>
                    </a:cubicBezTo>
                    <a:cubicBezTo>
                      <a:pt x="342" y="51"/>
                      <a:pt x="330" y="51"/>
                      <a:pt x="320" y="51"/>
                    </a:cubicBezTo>
                    <a:cubicBezTo>
                      <a:pt x="311" y="51"/>
                      <a:pt x="294" y="52"/>
                      <a:pt x="274" y="53"/>
                    </a:cubicBezTo>
                    <a:cubicBezTo>
                      <a:pt x="224" y="54"/>
                      <a:pt x="150" y="57"/>
                      <a:pt x="134" y="59"/>
                    </a:cubicBezTo>
                    <a:cubicBezTo>
                      <a:pt x="127" y="60"/>
                      <a:pt x="117" y="61"/>
                      <a:pt x="105" y="62"/>
                    </a:cubicBezTo>
                    <a:cubicBezTo>
                      <a:pt x="72" y="65"/>
                      <a:pt x="22" y="69"/>
                      <a:pt x="4" y="82"/>
                    </a:cubicBezTo>
                    <a:cubicBezTo>
                      <a:pt x="1" y="85"/>
                      <a:pt x="0" y="87"/>
                      <a:pt x="1" y="88"/>
                    </a:cubicBezTo>
                    <a:cubicBezTo>
                      <a:pt x="2" y="98"/>
                      <a:pt x="23" y="110"/>
                      <a:pt x="39" y="117"/>
                    </a:cubicBezTo>
                    <a:cubicBezTo>
                      <a:pt x="39" y="117"/>
                      <a:pt x="39" y="117"/>
                      <a:pt x="39" y="117"/>
                    </a:cubicBezTo>
                    <a:cubicBezTo>
                      <a:pt x="39" y="113"/>
                      <a:pt x="39" y="111"/>
                      <a:pt x="41" y="109"/>
                    </a:cubicBezTo>
                    <a:cubicBezTo>
                      <a:pt x="44" y="106"/>
                      <a:pt x="48" y="105"/>
                      <a:pt x="51" y="105"/>
                    </a:cubicBezTo>
                    <a:cubicBezTo>
                      <a:pt x="55" y="105"/>
                      <a:pt x="59" y="106"/>
                      <a:pt x="64" y="107"/>
                    </a:cubicBezTo>
                    <a:cubicBezTo>
                      <a:pt x="70" y="107"/>
                      <a:pt x="77" y="108"/>
                      <a:pt x="84" y="108"/>
                    </a:cubicBezTo>
                    <a:cubicBezTo>
                      <a:pt x="101" y="108"/>
                      <a:pt x="102" y="107"/>
                      <a:pt x="107" y="101"/>
                    </a:cubicBezTo>
                    <a:cubicBezTo>
                      <a:pt x="108" y="100"/>
                      <a:pt x="109" y="99"/>
                      <a:pt x="110" y="98"/>
                    </a:cubicBezTo>
                    <a:cubicBezTo>
                      <a:pt x="113" y="94"/>
                      <a:pt x="117" y="92"/>
                      <a:pt x="121" y="92"/>
                    </a:cubicBezTo>
                    <a:cubicBezTo>
                      <a:pt x="125" y="92"/>
                      <a:pt x="128" y="93"/>
                      <a:pt x="132" y="95"/>
                    </a:cubicBezTo>
                    <a:cubicBezTo>
                      <a:pt x="135" y="97"/>
                      <a:pt x="139" y="98"/>
                      <a:pt x="143" y="99"/>
                    </a:cubicBezTo>
                    <a:cubicBezTo>
                      <a:pt x="145" y="100"/>
                      <a:pt x="151" y="101"/>
                      <a:pt x="152" y="106"/>
                    </a:cubicBezTo>
                    <a:cubicBezTo>
                      <a:pt x="153" y="110"/>
                      <a:pt x="150" y="114"/>
                      <a:pt x="148" y="117"/>
                    </a:cubicBezTo>
                    <a:cubicBezTo>
                      <a:pt x="148" y="117"/>
                      <a:pt x="147" y="117"/>
                      <a:pt x="147" y="117"/>
                    </a:cubicBezTo>
                    <a:cubicBezTo>
                      <a:pt x="154" y="120"/>
                      <a:pt x="172" y="125"/>
                      <a:pt x="183" y="128"/>
                    </a:cubicBezTo>
                    <a:cubicBezTo>
                      <a:pt x="186" y="129"/>
                      <a:pt x="189" y="130"/>
                      <a:pt x="192" y="131"/>
                    </a:cubicBezTo>
                    <a:cubicBezTo>
                      <a:pt x="211" y="137"/>
                      <a:pt x="213" y="139"/>
                      <a:pt x="220" y="153"/>
                    </a:cubicBezTo>
                    <a:cubicBezTo>
                      <a:pt x="227" y="165"/>
                      <a:pt x="234" y="169"/>
                      <a:pt x="247" y="172"/>
                    </a:cubicBezTo>
                    <a:cubicBezTo>
                      <a:pt x="248" y="172"/>
                      <a:pt x="249" y="172"/>
                      <a:pt x="250" y="172"/>
                    </a:cubicBezTo>
                    <a:cubicBezTo>
                      <a:pt x="264" y="172"/>
                      <a:pt x="289" y="157"/>
                      <a:pt x="300" y="146"/>
                    </a:cubicBezTo>
                    <a:cubicBezTo>
                      <a:pt x="310" y="135"/>
                      <a:pt x="311" y="133"/>
                      <a:pt x="312" y="127"/>
                    </a:cubicBezTo>
                    <a:cubicBezTo>
                      <a:pt x="312" y="126"/>
                      <a:pt x="312" y="126"/>
                      <a:pt x="312" y="126"/>
                    </a:cubicBezTo>
                    <a:cubicBezTo>
                      <a:pt x="313" y="120"/>
                      <a:pt x="319" y="117"/>
                      <a:pt x="327" y="117"/>
                    </a:cubicBezTo>
                    <a:cubicBezTo>
                      <a:pt x="331" y="117"/>
                      <a:pt x="334" y="117"/>
                      <a:pt x="337" y="117"/>
                    </a:cubicBezTo>
                    <a:cubicBezTo>
                      <a:pt x="338" y="118"/>
                      <a:pt x="339" y="118"/>
                      <a:pt x="340" y="118"/>
                    </a:cubicBezTo>
                    <a:cubicBezTo>
                      <a:pt x="349" y="118"/>
                      <a:pt x="355" y="114"/>
                      <a:pt x="356" y="112"/>
                    </a:cubicBezTo>
                    <a:cubicBezTo>
                      <a:pt x="357" y="108"/>
                      <a:pt x="360" y="106"/>
                      <a:pt x="365" y="106"/>
                    </a:cubicBezTo>
                    <a:cubicBezTo>
                      <a:pt x="370" y="106"/>
                      <a:pt x="377" y="108"/>
                      <a:pt x="390" y="111"/>
                    </a:cubicBezTo>
                    <a:cubicBezTo>
                      <a:pt x="402" y="114"/>
                      <a:pt x="407" y="123"/>
                      <a:pt x="412" y="132"/>
                    </a:cubicBezTo>
                    <a:cubicBezTo>
                      <a:pt x="417" y="141"/>
                      <a:pt x="423" y="151"/>
                      <a:pt x="434" y="156"/>
                    </a:cubicBezTo>
                    <a:cubicBezTo>
                      <a:pt x="444" y="160"/>
                      <a:pt x="452" y="161"/>
                      <a:pt x="460" y="162"/>
                    </a:cubicBezTo>
                    <a:cubicBezTo>
                      <a:pt x="469" y="163"/>
                      <a:pt x="479" y="164"/>
                      <a:pt x="495" y="173"/>
                    </a:cubicBezTo>
                    <a:cubicBezTo>
                      <a:pt x="516" y="185"/>
                      <a:pt x="512" y="217"/>
                      <a:pt x="508" y="244"/>
                    </a:cubicBezTo>
                    <a:cubicBezTo>
                      <a:pt x="507" y="255"/>
                      <a:pt x="506" y="265"/>
                      <a:pt x="506" y="273"/>
                    </a:cubicBezTo>
                    <a:cubicBezTo>
                      <a:pt x="506" y="293"/>
                      <a:pt x="510" y="305"/>
                      <a:pt x="513" y="315"/>
                    </a:cubicBezTo>
                    <a:cubicBezTo>
                      <a:pt x="515" y="321"/>
                      <a:pt x="517" y="327"/>
                      <a:pt x="517" y="332"/>
                    </a:cubicBezTo>
                    <a:cubicBezTo>
                      <a:pt x="517" y="337"/>
                      <a:pt x="521" y="344"/>
                      <a:pt x="527" y="350"/>
                    </a:cubicBezTo>
                    <a:cubicBezTo>
                      <a:pt x="534" y="357"/>
                      <a:pt x="542" y="361"/>
                      <a:pt x="549" y="360"/>
                    </a:cubicBezTo>
                    <a:cubicBezTo>
                      <a:pt x="553" y="360"/>
                      <a:pt x="556" y="361"/>
                      <a:pt x="558" y="363"/>
                    </a:cubicBezTo>
                    <a:cubicBezTo>
                      <a:pt x="564" y="370"/>
                      <a:pt x="563" y="383"/>
                      <a:pt x="562" y="398"/>
                    </a:cubicBezTo>
                    <a:cubicBezTo>
                      <a:pt x="562" y="407"/>
                      <a:pt x="561" y="416"/>
                      <a:pt x="563" y="420"/>
                    </a:cubicBezTo>
                    <a:cubicBezTo>
                      <a:pt x="567" y="433"/>
                      <a:pt x="601" y="466"/>
                      <a:pt x="622" y="478"/>
                    </a:cubicBezTo>
                    <a:cubicBezTo>
                      <a:pt x="643" y="490"/>
                      <a:pt x="638" y="510"/>
                      <a:pt x="634" y="525"/>
                    </a:cubicBezTo>
                    <a:cubicBezTo>
                      <a:pt x="633" y="529"/>
                      <a:pt x="632" y="532"/>
                      <a:pt x="632" y="534"/>
                    </a:cubicBezTo>
                    <a:cubicBezTo>
                      <a:pt x="630" y="545"/>
                      <a:pt x="652" y="559"/>
                      <a:pt x="669" y="569"/>
                    </a:cubicBezTo>
                    <a:cubicBezTo>
                      <a:pt x="673" y="572"/>
                      <a:pt x="677" y="574"/>
                      <a:pt x="681" y="577"/>
                    </a:cubicBezTo>
                    <a:cubicBezTo>
                      <a:pt x="689" y="582"/>
                      <a:pt x="694" y="583"/>
                      <a:pt x="699" y="584"/>
                    </a:cubicBezTo>
                    <a:cubicBezTo>
                      <a:pt x="707" y="585"/>
                      <a:pt x="714" y="587"/>
                      <a:pt x="726" y="597"/>
                    </a:cubicBezTo>
                    <a:cubicBezTo>
                      <a:pt x="745" y="613"/>
                      <a:pt x="745" y="617"/>
                      <a:pt x="742" y="632"/>
                    </a:cubicBezTo>
                    <a:cubicBezTo>
                      <a:pt x="742" y="634"/>
                      <a:pt x="742" y="636"/>
                      <a:pt x="741" y="638"/>
                    </a:cubicBezTo>
                    <a:cubicBezTo>
                      <a:pt x="740" y="647"/>
                      <a:pt x="742" y="648"/>
                      <a:pt x="747" y="650"/>
                    </a:cubicBezTo>
                    <a:cubicBezTo>
                      <a:pt x="750" y="652"/>
                      <a:pt x="754" y="654"/>
                      <a:pt x="757" y="657"/>
                    </a:cubicBezTo>
                    <a:cubicBezTo>
                      <a:pt x="759" y="660"/>
                      <a:pt x="761" y="660"/>
                      <a:pt x="762" y="660"/>
                    </a:cubicBezTo>
                    <a:cubicBezTo>
                      <a:pt x="765" y="660"/>
                      <a:pt x="769" y="657"/>
                      <a:pt x="774" y="654"/>
                    </a:cubicBezTo>
                    <a:cubicBezTo>
                      <a:pt x="776" y="653"/>
                      <a:pt x="778" y="652"/>
                      <a:pt x="780" y="650"/>
                    </a:cubicBezTo>
                    <a:cubicBezTo>
                      <a:pt x="787" y="646"/>
                      <a:pt x="792" y="645"/>
                      <a:pt x="799" y="644"/>
                    </a:cubicBezTo>
                    <a:cubicBezTo>
                      <a:pt x="804" y="643"/>
                      <a:pt x="810" y="642"/>
                      <a:pt x="818" y="639"/>
                    </a:cubicBezTo>
                    <a:cubicBezTo>
                      <a:pt x="823" y="638"/>
                      <a:pt x="826" y="636"/>
                      <a:pt x="827" y="634"/>
                    </a:cubicBezTo>
                    <a:cubicBezTo>
                      <a:pt x="828" y="632"/>
                      <a:pt x="827" y="629"/>
                      <a:pt x="826" y="626"/>
                    </a:cubicBezTo>
                    <a:cubicBezTo>
                      <a:pt x="825" y="623"/>
                      <a:pt x="824" y="620"/>
                      <a:pt x="824" y="617"/>
                    </a:cubicBezTo>
                    <a:cubicBezTo>
                      <a:pt x="825" y="616"/>
                      <a:pt x="825" y="614"/>
                      <a:pt x="826" y="611"/>
                    </a:cubicBezTo>
                    <a:cubicBezTo>
                      <a:pt x="827" y="600"/>
                      <a:pt x="830" y="584"/>
                      <a:pt x="837" y="565"/>
                    </a:cubicBezTo>
                    <a:cubicBezTo>
                      <a:pt x="843" y="548"/>
                      <a:pt x="841" y="527"/>
                      <a:pt x="839" y="511"/>
                    </a:cubicBezTo>
                    <a:cubicBezTo>
                      <a:pt x="839" y="504"/>
                      <a:pt x="838" y="498"/>
                      <a:pt x="838" y="492"/>
                    </a:cubicBezTo>
                    <a:cubicBezTo>
                      <a:pt x="838" y="475"/>
                      <a:pt x="833" y="456"/>
                      <a:pt x="822" y="435"/>
                    </a:cubicBezTo>
                    <a:cubicBezTo>
                      <a:pt x="815" y="423"/>
                      <a:pt x="812" y="410"/>
                      <a:pt x="810" y="397"/>
                    </a:cubicBezTo>
                    <a:cubicBezTo>
                      <a:pt x="808" y="388"/>
                      <a:pt x="806" y="379"/>
                      <a:pt x="803" y="370"/>
                    </a:cubicBezTo>
                    <a:cubicBezTo>
                      <a:pt x="795" y="347"/>
                      <a:pt x="771" y="307"/>
                      <a:pt x="759" y="289"/>
                    </a:cubicBezTo>
                    <a:cubicBezTo>
                      <a:pt x="744" y="268"/>
                      <a:pt x="738" y="248"/>
                      <a:pt x="741" y="233"/>
                    </a:cubicBezTo>
                    <a:cubicBezTo>
                      <a:pt x="744" y="220"/>
                      <a:pt x="741" y="215"/>
                      <a:pt x="728" y="209"/>
                    </a:cubicBezTo>
                    <a:cubicBezTo>
                      <a:pt x="724" y="207"/>
                      <a:pt x="720" y="207"/>
                      <a:pt x="718" y="207"/>
                    </a:cubicBezTo>
                    <a:cubicBezTo>
                      <a:pt x="711" y="206"/>
                      <a:pt x="708" y="205"/>
                      <a:pt x="706" y="194"/>
                    </a:cubicBezTo>
                    <a:cubicBezTo>
                      <a:pt x="705" y="193"/>
                      <a:pt x="705" y="193"/>
                      <a:pt x="705" y="193"/>
                    </a:cubicBezTo>
                    <a:cubicBezTo>
                      <a:pt x="703" y="180"/>
                      <a:pt x="701" y="172"/>
                      <a:pt x="686" y="163"/>
                    </a:cubicBezTo>
                    <a:cubicBezTo>
                      <a:pt x="669" y="152"/>
                      <a:pt x="664" y="138"/>
                      <a:pt x="657" y="120"/>
                    </a:cubicBezTo>
                    <a:cubicBezTo>
                      <a:pt x="655" y="115"/>
                      <a:pt x="655" y="115"/>
                      <a:pt x="655" y="115"/>
                    </a:cubicBezTo>
                    <a:cubicBezTo>
                      <a:pt x="650" y="103"/>
                      <a:pt x="641" y="90"/>
                      <a:pt x="633" y="79"/>
                    </a:cubicBezTo>
                    <a:cubicBezTo>
                      <a:pt x="627" y="72"/>
                      <a:pt x="623" y="66"/>
                      <a:pt x="619" y="60"/>
                    </a:cubicBezTo>
                    <a:cubicBezTo>
                      <a:pt x="611" y="46"/>
                      <a:pt x="610" y="36"/>
                      <a:pt x="609" y="23"/>
                    </a:cubicBezTo>
                    <a:cubicBezTo>
                      <a:pt x="609" y="20"/>
                      <a:pt x="609" y="16"/>
                      <a:pt x="609" y="13"/>
                    </a:cubicBezTo>
                    <a:cubicBezTo>
                      <a:pt x="608" y="7"/>
                      <a:pt x="608" y="3"/>
                      <a:pt x="607" y="0"/>
                    </a:cubicBezTo>
                    <a:cubicBezTo>
                      <a:pt x="557" y="0"/>
                      <a:pt x="557" y="0"/>
                      <a:pt x="557" y="0"/>
                    </a:cubicBezTo>
                    <a:cubicBezTo>
                      <a:pt x="557" y="0"/>
                      <a:pt x="557" y="0"/>
                      <a:pt x="5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4">
                <a:extLst>
                  <a:ext uri="{FF2B5EF4-FFF2-40B4-BE49-F238E27FC236}">
                    <a16:creationId xmlns:a16="http://schemas.microsoft.com/office/drawing/2014/main" id="{E8350671-03B7-4010-8FA8-DE739C6F1B9E}"/>
                  </a:ext>
                </a:extLst>
              </p:cNvPr>
              <p:cNvSpPr>
                <a:spLocks/>
              </p:cNvSpPr>
              <p:nvPr/>
            </p:nvSpPr>
            <p:spPr bwMode="auto">
              <a:xfrm>
                <a:off x="2939" y="2502"/>
                <a:ext cx="1475" cy="1491"/>
              </a:xfrm>
              <a:custGeom>
                <a:avLst/>
                <a:gdLst>
                  <a:gd name="T0" fmla="*/ 1230 w 1255"/>
                  <a:gd name="T1" fmla="*/ 600 h 1267"/>
                  <a:gd name="T2" fmla="*/ 1180 w 1255"/>
                  <a:gd name="T3" fmla="*/ 526 h 1267"/>
                  <a:gd name="T4" fmla="*/ 1173 w 1255"/>
                  <a:gd name="T5" fmla="*/ 396 h 1267"/>
                  <a:gd name="T6" fmla="*/ 1098 w 1255"/>
                  <a:gd name="T7" fmla="*/ 307 h 1267"/>
                  <a:gd name="T8" fmla="*/ 1061 w 1255"/>
                  <a:gd name="T9" fmla="*/ 289 h 1267"/>
                  <a:gd name="T10" fmla="*/ 960 w 1255"/>
                  <a:gd name="T11" fmla="*/ 318 h 1267"/>
                  <a:gd name="T12" fmla="*/ 939 w 1255"/>
                  <a:gd name="T13" fmla="*/ 306 h 1267"/>
                  <a:gd name="T14" fmla="*/ 876 w 1255"/>
                  <a:gd name="T15" fmla="*/ 307 h 1267"/>
                  <a:gd name="T16" fmla="*/ 813 w 1255"/>
                  <a:gd name="T17" fmla="*/ 287 h 1267"/>
                  <a:gd name="T18" fmla="*/ 680 w 1255"/>
                  <a:gd name="T19" fmla="*/ 256 h 1267"/>
                  <a:gd name="T20" fmla="*/ 626 w 1255"/>
                  <a:gd name="T21" fmla="*/ 253 h 1267"/>
                  <a:gd name="T22" fmla="*/ 594 w 1255"/>
                  <a:gd name="T23" fmla="*/ 199 h 1267"/>
                  <a:gd name="T24" fmla="*/ 316 w 1255"/>
                  <a:gd name="T25" fmla="*/ 0 h 1267"/>
                  <a:gd name="T26" fmla="*/ 312 w 1255"/>
                  <a:gd name="T27" fmla="*/ 540 h 1267"/>
                  <a:gd name="T28" fmla="*/ 1 w 1255"/>
                  <a:gd name="T29" fmla="*/ 566 h 1267"/>
                  <a:gd name="T30" fmla="*/ 3 w 1255"/>
                  <a:gd name="T31" fmla="*/ 613 h 1267"/>
                  <a:gd name="T32" fmla="*/ 13 w 1255"/>
                  <a:gd name="T33" fmla="*/ 639 h 1267"/>
                  <a:gd name="T34" fmla="*/ 108 w 1255"/>
                  <a:gd name="T35" fmla="*/ 746 h 1267"/>
                  <a:gd name="T36" fmla="*/ 154 w 1255"/>
                  <a:gd name="T37" fmla="*/ 820 h 1267"/>
                  <a:gd name="T38" fmla="*/ 238 w 1255"/>
                  <a:gd name="T39" fmla="*/ 886 h 1267"/>
                  <a:gd name="T40" fmla="*/ 261 w 1255"/>
                  <a:gd name="T41" fmla="*/ 879 h 1267"/>
                  <a:gd name="T42" fmla="*/ 290 w 1255"/>
                  <a:gd name="T43" fmla="*/ 858 h 1267"/>
                  <a:gd name="T44" fmla="*/ 323 w 1255"/>
                  <a:gd name="T45" fmla="*/ 826 h 1267"/>
                  <a:gd name="T46" fmla="*/ 340 w 1255"/>
                  <a:gd name="T47" fmla="*/ 815 h 1267"/>
                  <a:gd name="T48" fmla="*/ 345 w 1255"/>
                  <a:gd name="T49" fmla="*/ 815 h 1267"/>
                  <a:gd name="T50" fmla="*/ 401 w 1255"/>
                  <a:gd name="T51" fmla="*/ 798 h 1267"/>
                  <a:gd name="T52" fmla="*/ 423 w 1255"/>
                  <a:gd name="T53" fmla="*/ 803 h 1267"/>
                  <a:gd name="T54" fmla="*/ 514 w 1255"/>
                  <a:gd name="T55" fmla="*/ 908 h 1267"/>
                  <a:gd name="T56" fmla="*/ 672 w 1255"/>
                  <a:gd name="T57" fmla="*/ 1125 h 1267"/>
                  <a:gd name="T58" fmla="*/ 716 w 1255"/>
                  <a:gd name="T59" fmla="*/ 1176 h 1267"/>
                  <a:gd name="T60" fmla="*/ 818 w 1255"/>
                  <a:gd name="T61" fmla="*/ 1241 h 1267"/>
                  <a:gd name="T62" fmla="*/ 837 w 1255"/>
                  <a:gd name="T63" fmla="*/ 1240 h 1267"/>
                  <a:gd name="T64" fmla="*/ 872 w 1255"/>
                  <a:gd name="T65" fmla="*/ 1261 h 1267"/>
                  <a:gd name="T66" fmla="*/ 909 w 1255"/>
                  <a:gd name="T67" fmla="*/ 1266 h 1267"/>
                  <a:gd name="T68" fmla="*/ 910 w 1255"/>
                  <a:gd name="T69" fmla="*/ 1255 h 1267"/>
                  <a:gd name="T70" fmla="*/ 907 w 1255"/>
                  <a:gd name="T71" fmla="*/ 1244 h 1267"/>
                  <a:gd name="T72" fmla="*/ 900 w 1255"/>
                  <a:gd name="T73" fmla="*/ 1224 h 1267"/>
                  <a:gd name="T74" fmla="*/ 883 w 1255"/>
                  <a:gd name="T75" fmla="*/ 1186 h 1267"/>
                  <a:gd name="T76" fmla="*/ 877 w 1255"/>
                  <a:gd name="T77" fmla="*/ 1150 h 1267"/>
                  <a:gd name="T78" fmla="*/ 870 w 1255"/>
                  <a:gd name="T79" fmla="*/ 1119 h 1267"/>
                  <a:gd name="T80" fmla="*/ 861 w 1255"/>
                  <a:gd name="T81" fmla="*/ 1100 h 1267"/>
                  <a:gd name="T82" fmla="*/ 877 w 1255"/>
                  <a:gd name="T83" fmla="*/ 1064 h 1267"/>
                  <a:gd name="T84" fmla="*/ 889 w 1255"/>
                  <a:gd name="T85" fmla="*/ 1023 h 1267"/>
                  <a:gd name="T86" fmla="*/ 1014 w 1255"/>
                  <a:gd name="T87" fmla="*/ 931 h 1267"/>
                  <a:gd name="T88" fmla="*/ 1050 w 1255"/>
                  <a:gd name="T89" fmla="*/ 916 h 1267"/>
                  <a:gd name="T90" fmla="*/ 1113 w 1255"/>
                  <a:gd name="T91" fmla="*/ 855 h 1267"/>
                  <a:gd name="T92" fmla="*/ 1098 w 1255"/>
                  <a:gd name="T93" fmla="*/ 825 h 1267"/>
                  <a:gd name="T94" fmla="*/ 1114 w 1255"/>
                  <a:gd name="T95" fmla="*/ 801 h 1267"/>
                  <a:gd name="T96" fmla="*/ 1139 w 1255"/>
                  <a:gd name="T97" fmla="*/ 798 h 1267"/>
                  <a:gd name="T98" fmla="*/ 1146 w 1255"/>
                  <a:gd name="T99" fmla="*/ 814 h 1267"/>
                  <a:gd name="T100" fmla="*/ 1148 w 1255"/>
                  <a:gd name="T101" fmla="*/ 819 h 1267"/>
                  <a:gd name="T102" fmla="*/ 1195 w 1255"/>
                  <a:gd name="T103" fmla="*/ 797 h 1267"/>
                  <a:gd name="T104" fmla="*/ 1248 w 1255"/>
                  <a:gd name="T105" fmla="*/ 661 h 1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5" h="1267">
                    <a:moveTo>
                      <a:pt x="1242" y="624"/>
                    </a:moveTo>
                    <a:cubicBezTo>
                      <a:pt x="1238" y="618"/>
                      <a:pt x="1235" y="610"/>
                      <a:pt x="1230" y="600"/>
                    </a:cubicBezTo>
                    <a:cubicBezTo>
                      <a:pt x="1223" y="583"/>
                      <a:pt x="1214" y="564"/>
                      <a:pt x="1205" y="554"/>
                    </a:cubicBezTo>
                    <a:cubicBezTo>
                      <a:pt x="1191" y="538"/>
                      <a:pt x="1180" y="526"/>
                      <a:pt x="1180" y="526"/>
                    </a:cubicBezTo>
                    <a:cubicBezTo>
                      <a:pt x="1179" y="526"/>
                      <a:pt x="1179" y="525"/>
                      <a:pt x="1179" y="524"/>
                    </a:cubicBezTo>
                    <a:cubicBezTo>
                      <a:pt x="1179" y="523"/>
                      <a:pt x="1175" y="431"/>
                      <a:pt x="1173" y="396"/>
                    </a:cubicBezTo>
                    <a:cubicBezTo>
                      <a:pt x="1171" y="362"/>
                      <a:pt x="1132" y="315"/>
                      <a:pt x="1120" y="306"/>
                    </a:cubicBezTo>
                    <a:cubicBezTo>
                      <a:pt x="1116" y="307"/>
                      <a:pt x="1108" y="309"/>
                      <a:pt x="1098" y="307"/>
                    </a:cubicBezTo>
                    <a:cubicBezTo>
                      <a:pt x="1091" y="306"/>
                      <a:pt x="1084" y="301"/>
                      <a:pt x="1078" y="297"/>
                    </a:cubicBezTo>
                    <a:cubicBezTo>
                      <a:pt x="1072" y="293"/>
                      <a:pt x="1065" y="289"/>
                      <a:pt x="1061" y="289"/>
                    </a:cubicBezTo>
                    <a:cubicBezTo>
                      <a:pt x="1048" y="289"/>
                      <a:pt x="999" y="297"/>
                      <a:pt x="987" y="307"/>
                    </a:cubicBezTo>
                    <a:cubicBezTo>
                      <a:pt x="978" y="314"/>
                      <a:pt x="968" y="318"/>
                      <a:pt x="960" y="318"/>
                    </a:cubicBezTo>
                    <a:cubicBezTo>
                      <a:pt x="959" y="318"/>
                      <a:pt x="958" y="317"/>
                      <a:pt x="956" y="317"/>
                    </a:cubicBezTo>
                    <a:cubicBezTo>
                      <a:pt x="949" y="316"/>
                      <a:pt x="944" y="312"/>
                      <a:pt x="939" y="306"/>
                    </a:cubicBezTo>
                    <a:cubicBezTo>
                      <a:pt x="934" y="298"/>
                      <a:pt x="928" y="299"/>
                      <a:pt x="910" y="302"/>
                    </a:cubicBezTo>
                    <a:cubicBezTo>
                      <a:pt x="901" y="304"/>
                      <a:pt x="890" y="306"/>
                      <a:pt x="876" y="307"/>
                    </a:cubicBezTo>
                    <a:cubicBezTo>
                      <a:pt x="840" y="310"/>
                      <a:pt x="829" y="300"/>
                      <a:pt x="819" y="291"/>
                    </a:cubicBezTo>
                    <a:cubicBezTo>
                      <a:pt x="817" y="290"/>
                      <a:pt x="815" y="288"/>
                      <a:pt x="813" y="287"/>
                    </a:cubicBezTo>
                    <a:cubicBezTo>
                      <a:pt x="803" y="279"/>
                      <a:pt x="760" y="274"/>
                      <a:pt x="735" y="275"/>
                    </a:cubicBezTo>
                    <a:cubicBezTo>
                      <a:pt x="711" y="276"/>
                      <a:pt x="693" y="264"/>
                      <a:pt x="680" y="256"/>
                    </a:cubicBezTo>
                    <a:cubicBezTo>
                      <a:pt x="679" y="255"/>
                      <a:pt x="677" y="254"/>
                      <a:pt x="676" y="253"/>
                    </a:cubicBezTo>
                    <a:cubicBezTo>
                      <a:pt x="666" y="247"/>
                      <a:pt x="658" y="245"/>
                      <a:pt x="626" y="253"/>
                    </a:cubicBezTo>
                    <a:cubicBezTo>
                      <a:pt x="618" y="255"/>
                      <a:pt x="611" y="253"/>
                      <a:pt x="606" y="249"/>
                    </a:cubicBezTo>
                    <a:cubicBezTo>
                      <a:pt x="591" y="236"/>
                      <a:pt x="594" y="200"/>
                      <a:pt x="594" y="199"/>
                    </a:cubicBezTo>
                    <a:cubicBezTo>
                      <a:pt x="594" y="0"/>
                      <a:pt x="594" y="0"/>
                      <a:pt x="594" y="0"/>
                    </a:cubicBezTo>
                    <a:cubicBezTo>
                      <a:pt x="316" y="0"/>
                      <a:pt x="316" y="0"/>
                      <a:pt x="316" y="0"/>
                    </a:cubicBezTo>
                    <a:cubicBezTo>
                      <a:pt x="316" y="536"/>
                      <a:pt x="316" y="536"/>
                      <a:pt x="316" y="536"/>
                    </a:cubicBezTo>
                    <a:cubicBezTo>
                      <a:pt x="316" y="539"/>
                      <a:pt x="314" y="540"/>
                      <a:pt x="312" y="540"/>
                    </a:cubicBezTo>
                    <a:cubicBezTo>
                      <a:pt x="1" y="540"/>
                      <a:pt x="1" y="540"/>
                      <a:pt x="1" y="540"/>
                    </a:cubicBezTo>
                    <a:cubicBezTo>
                      <a:pt x="1" y="566"/>
                      <a:pt x="1" y="566"/>
                      <a:pt x="1" y="566"/>
                    </a:cubicBezTo>
                    <a:cubicBezTo>
                      <a:pt x="16" y="584"/>
                      <a:pt x="11" y="593"/>
                      <a:pt x="6" y="604"/>
                    </a:cubicBezTo>
                    <a:cubicBezTo>
                      <a:pt x="5" y="607"/>
                      <a:pt x="4" y="610"/>
                      <a:pt x="3" y="613"/>
                    </a:cubicBezTo>
                    <a:cubicBezTo>
                      <a:pt x="0" y="620"/>
                      <a:pt x="2" y="622"/>
                      <a:pt x="5" y="626"/>
                    </a:cubicBezTo>
                    <a:cubicBezTo>
                      <a:pt x="8" y="629"/>
                      <a:pt x="11" y="632"/>
                      <a:pt x="13" y="639"/>
                    </a:cubicBezTo>
                    <a:cubicBezTo>
                      <a:pt x="18" y="655"/>
                      <a:pt x="38" y="699"/>
                      <a:pt x="57" y="708"/>
                    </a:cubicBezTo>
                    <a:cubicBezTo>
                      <a:pt x="67" y="713"/>
                      <a:pt x="98" y="729"/>
                      <a:pt x="108" y="746"/>
                    </a:cubicBezTo>
                    <a:cubicBezTo>
                      <a:pt x="109" y="748"/>
                      <a:pt x="111" y="752"/>
                      <a:pt x="114" y="757"/>
                    </a:cubicBezTo>
                    <a:cubicBezTo>
                      <a:pt x="125" y="776"/>
                      <a:pt x="145" y="811"/>
                      <a:pt x="154" y="820"/>
                    </a:cubicBezTo>
                    <a:cubicBezTo>
                      <a:pt x="167" y="831"/>
                      <a:pt x="217" y="870"/>
                      <a:pt x="226" y="876"/>
                    </a:cubicBezTo>
                    <a:cubicBezTo>
                      <a:pt x="230" y="878"/>
                      <a:pt x="234" y="882"/>
                      <a:pt x="238" y="886"/>
                    </a:cubicBezTo>
                    <a:cubicBezTo>
                      <a:pt x="242" y="890"/>
                      <a:pt x="249" y="897"/>
                      <a:pt x="252" y="897"/>
                    </a:cubicBezTo>
                    <a:cubicBezTo>
                      <a:pt x="254" y="894"/>
                      <a:pt x="258" y="886"/>
                      <a:pt x="261" y="879"/>
                    </a:cubicBezTo>
                    <a:cubicBezTo>
                      <a:pt x="265" y="870"/>
                      <a:pt x="267" y="864"/>
                      <a:pt x="270" y="862"/>
                    </a:cubicBezTo>
                    <a:cubicBezTo>
                      <a:pt x="273" y="858"/>
                      <a:pt x="280" y="858"/>
                      <a:pt x="290" y="858"/>
                    </a:cubicBezTo>
                    <a:cubicBezTo>
                      <a:pt x="297" y="858"/>
                      <a:pt x="306" y="858"/>
                      <a:pt x="309" y="856"/>
                    </a:cubicBezTo>
                    <a:cubicBezTo>
                      <a:pt x="315" y="853"/>
                      <a:pt x="321" y="832"/>
                      <a:pt x="323" y="826"/>
                    </a:cubicBezTo>
                    <a:cubicBezTo>
                      <a:pt x="323" y="825"/>
                      <a:pt x="323" y="825"/>
                      <a:pt x="323" y="825"/>
                    </a:cubicBezTo>
                    <a:cubicBezTo>
                      <a:pt x="326" y="815"/>
                      <a:pt x="336" y="815"/>
                      <a:pt x="340" y="815"/>
                    </a:cubicBezTo>
                    <a:cubicBezTo>
                      <a:pt x="341" y="815"/>
                      <a:pt x="342" y="815"/>
                      <a:pt x="343" y="815"/>
                    </a:cubicBezTo>
                    <a:cubicBezTo>
                      <a:pt x="344" y="815"/>
                      <a:pt x="345" y="815"/>
                      <a:pt x="345" y="815"/>
                    </a:cubicBezTo>
                    <a:cubicBezTo>
                      <a:pt x="352" y="815"/>
                      <a:pt x="368" y="809"/>
                      <a:pt x="377" y="803"/>
                    </a:cubicBezTo>
                    <a:cubicBezTo>
                      <a:pt x="385" y="798"/>
                      <a:pt x="396" y="798"/>
                      <a:pt x="401" y="798"/>
                    </a:cubicBezTo>
                    <a:cubicBezTo>
                      <a:pt x="407" y="798"/>
                      <a:pt x="414" y="799"/>
                      <a:pt x="418" y="801"/>
                    </a:cubicBezTo>
                    <a:cubicBezTo>
                      <a:pt x="419" y="801"/>
                      <a:pt x="421" y="802"/>
                      <a:pt x="423" y="803"/>
                    </a:cubicBezTo>
                    <a:cubicBezTo>
                      <a:pt x="430" y="807"/>
                      <a:pt x="440" y="812"/>
                      <a:pt x="455" y="812"/>
                    </a:cubicBezTo>
                    <a:cubicBezTo>
                      <a:pt x="472" y="812"/>
                      <a:pt x="491" y="842"/>
                      <a:pt x="514" y="908"/>
                    </a:cubicBezTo>
                    <a:cubicBezTo>
                      <a:pt x="529" y="949"/>
                      <a:pt x="564" y="1003"/>
                      <a:pt x="592" y="1019"/>
                    </a:cubicBezTo>
                    <a:cubicBezTo>
                      <a:pt x="621" y="1035"/>
                      <a:pt x="654" y="1094"/>
                      <a:pt x="672" y="1125"/>
                    </a:cubicBezTo>
                    <a:cubicBezTo>
                      <a:pt x="674" y="1129"/>
                      <a:pt x="676" y="1133"/>
                      <a:pt x="678" y="1136"/>
                    </a:cubicBezTo>
                    <a:cubicBezTo>
                      <a:pt x="689" y="1155"/>
                      <a:pt x="702" y="1174"/>
                      <a:pt x="716" y="1176"/>
                    </a:cubicBezTo>
                    <a:cubicBezTo>
                      <a:pt x="732" y="1179"/>
                      <a:pt x="784" y="1221"/>
                      <a:pt x="794" y="1234"/>
                    </a:cubicBezTo>
                    <a:cubicBezTo>
                      <a:pt x="797" y="1238"/>
                      <a:pt x="805" y="1241"/>
                      <a:pt x="818" y="1241"/>
                    </a:cubicBezTo>
                    <a:cubicBezTo>
                      <a:pt x="822" y="1241"/>
                      <a:pt x="826" y="1240"/>
                      <a:pt x="829" y="1240"/>
                    </a:cubicBezTo>
                    <a:cubicBezTo>
                      <a:pt x="832" y="1240"/>
                      <a:pt x="835" y="1240"/>
                      <a:pt x="837" y="1240"/>
                    </a:cubicBezTo>
                    <a:cubicBezTo>
                      <a:pt x="838" y="1240"/>
                      <a:pt x="839" y="1240"/>
                      <a:pt x="840" y="1240"/>
                    </a:cubicBezTo>
                    <a:cubicBezTo>
                      <a:pt x="852" y="1241"/>
                      <a:pt x="865" y="1249"/>
                      <a:pt x="872" y="1261"/>
                    </a:cubicBezTo>
                    <a:cubicBezTo>
                      <a:pt x="874" y="1265"/>
                      <a:pt x="881" y="1267"/>
                      <a:pt x="892" y="1267"/>
                    </a:cubicBezTo>
                    <a:cubicBezTo>
                      <a:pt x="899" y="1267"/>
                      <a:pt x="906" y="1266"/>
                      <a:pt x="909" y="1266"/>
                    </a:cubicBezTo>
                    <a:cubicBezTo>
                      <a:pt x="910" y="1265"/>
                      <a:pt x="910" y="1265"/>
                      <a:pt x="910" y="1265"/>
                    </a:cubicBezTo>
                    <a:cubicBezTo>
                      <a:pt x="911" y="1264"/>
                      <a:pt x="910" y="1258"/>
                      <a:pt x="910" y="1255"/>
                    </a:cubicBezTo>
                    <a:cubicBezTo>
                      <a:pt x="909" y="1252"/>
                      <a:pt x="909" y="1250"/>
                      <a:pt x="909" y="1249"/>
                    </a:cubicBezTo>
                    <a:cubicBezTo>
                      <a:pt x="909" y="1246"/>
                      <a:pt x="909" y="1246"/>
                      <a:pt x="907" y="1244"/>
                    </a:cubicBezTo>
                    <a:cubicBezTo>
                      <a:pt x="906" y="1243"/>
                      <a:pt x="906" y="1243"/>
                      <a:pt x="906" y="1243"/>
                    </a:cubicBezTo>
                    <a:cubicBezTo>
                      <a:pt x="900" y="1239"/>
                      <a:pt x="900" y="1230"/>
                      <a:pt x="900" y="1224"/>
                    </a:cubicBezTo>
                    <a:cubicBezTo>
                      <a:pt x="900" y="1220"/>
                      <a:pt x="898" y="1211"/>
                      <a:pt x="889" y="1204"/>
                    </a:cubicBezTo>
                    <a:cubicBezTo>
                      <a:pt x="880" y="1197"/>
                      <a:pt x="881" y="1193"/>
                      <a:pt x="883" y="1186"/>
                    </a:cubicBezTo>
                    <a:cubicBezTo>
                      <a:pt x="883" y="1184"/>
                      <a:pt x="884" y="1181"/>
                      <a:pt x="884" y="1178"/>
                    </a:cubicBezTo>
                    <a:cubicBezTo>
                      <a:pt x="885" y="1170"/>
                      <a:pt x="881" y="1160"/>
                      <a:pt x="877" y="1150"/>
                    </a:cubicBezTo>
                    <a:cubicBezTo>
                      <a:pt x="876" y="1146"/>
                      <a:pt x="874" y="1143"/>
                      <a:pt x="873" y="1140"/>
                    </a:cubicBezTo>
                    <a:cubicBezTo>
                      <a:pt x="871" y="1133"/>
                      <a:pt x="870" y="1125"/>
                      <a:pt x="870" y="1119"/>
                    </a:cubicBezTo>
                    <a:cubicBezTo>
                      <a:pt x="870" y="1115"/>
                      <a:pt x="870" y="1111"/>
                      <a:pt x="869" y="1109"/>
                    </a:cubicBezTo>
                    <a:cubicBezTo>
                      <a:pt x="865" y="1108"/>
                      <a:pt x="862" y="1104"/>
                      <a:pt x="861" y="1100"/>
                    </a:cubicBezTo>
                    <a:cubicBezTo>
                      <a:pt x="861" y="1095"/>
                      <a:pt x="863" y="1091"/>
                      <a:pt x="868" y="1089"/>
                    </a:cubicBezTo>
                    <a:cubicBezTo>
                      <a:pt x="874" y="1086"/>
                      <a:pt x="877" y="1074"/>
                      <a:pt x="877" y="1064"/>
                    </a:cubicBezTo>
                    <a:cubicBezTo>
                      <a:pt x="877" y="1056"/>
                      <a:pt x="879" y="1049"/>
                      <a:pt x="884" y="1037"/>
                    </a:cubicBezTo>
                    <a:cubicBezTo>
                      <a:pt x="885" y="1033"/>
                      <a:pt x="887" y="1028"/>
                      <a:pt x="889" y="1023"/>
                    </a:cubicBezTo>
                    <a:cubicBezTo>
                      <a:pt x="896" y="1002"/>
                      <a:pt x="921" y="963"/>
                      <a:pt x="935" y="950"/>
                    </a:cubicBezTo>
                    <a:cubicBezTo>
                      <a:pt x="945" y="940"/>
                      <a:pt x="970" y="934"/>
                      <a:pt x="1014" y="931"/>
                    </a:cubicBezTo>
                    <a:cubicBezTo>
                      <a:pt x="1033" y="929"/>
                      <a:pt x="1039" y="924"/>
                      <a:pt x="1046" y="919"/>
                    </a:cubicBezTo>
                    <a:cubicBezTo>
                      <a:pt x="1047" y="918"/>
                      <a:pt x="1049" y="917"/>
                      <a:pt x="1050" y="916"/>
                    </a:cubicBezTo>
                    <a:cubicBezTo>
                      <a:pt x="1062" y="908"/>
                      <a:pt x="1078" y="891"/>
                      <a:pt x="1091" y="877"/>
                    </a:cubicBezTo>
                    <a:cubicBezTo>
                      <a:pt x="1101" y="866"/>
                      <a:pt x="1108" y="858"/>
                      <a:pt x="1113" y="855"/>
                    </a:cubicBezTo>
                    <a:cubicBezTo>
                      <a:pt x="1118" y="852"/>
                      <a:pt x="1120" y="849"/>
                      <a:pt x="1120" y="847"/>
                    </a:cubicBezTo>
                    <a:cubicBezTo>
                      <a:pt x="1114" y="845"/>
                      <a:pt x="1098" y="833"/>
                      <a:pt x="1098" y="825"/>
                    </a:cubicBezTo>
                    <a:cubicBezTo>
                      <a:pt x="1098" y="818"/>
                      <a:pt x="1105" y="810"/>
                      <a:pt x="1111" y="804"/>
                    </a:cubicBezTo>
                    <a:cubicBezTo>
                      <a:pt x="1112" y="803"/>
                      <a:pt x="1113" y="802"/>
                      <a:pt x="1114" y="801"/>
                    </a:cubicBezTo>
                    <a:cubicBezTo>
                      <a:pt x="1117" y="798"/>
                      <a:pt x="1121" y="796"/>
                      <a:pt x="1126" y="796"/>
                    </a:cubicBezTo>
                    <a:cubicBezTo>
                      <a:pt x="1131" y="796"/>
                      <a:pt x="1135" y="797"/>
                      <a:pt x="1139" y="798"/>
                    </a:cubicBezTo>
                    <a:cubicBezTo>
                      <a:pt x="1140" y="799"/>
                      <a:pt x="1140" y="799"/>
                      <a:pt x="1140" y="799"/>
                    </a:cubicBezTo>
                    <a:cubicBezTo>
                      <a:pt x="1147" y="801"/>
                      <a:pt x="1146" y="809"/>
                      <a:pt x="1146" y="814"/>
                    </a:cubicBezTo>
                    <a:cubicBezTo>
                      <a:pt x="1146" y="816"/>
                      <a:pt x="1145" y="818"/>
                      <a:pt x="1145" y="819"/>
                    </a:cubicBezTo>
                    <a:cubicBezTo>
                      <a:pt x="1146" y="819"/>
                      <a:pt x="1147" y="819"/>
                      <a:pt x="1148" y="819"/>
                    </a:cubicBezTo>
                    <a:cubicBezTo>
                      <a:pt x="1151" y="819"/>
                      <a:pt x="1157" y="818"/>
                      <a:pt x="1165" y="817"/>
                    </a:cubicBezTo>
                    <a:cubicBezTo>
                      <a:pt x="1171" y="815"/>
                      <a:pt x="1184" y="805"/>
                      <a:pt x="1195" y="797"/>
                    </a:cubicBezTo>
                    <a:cubicBezTo>
                      <a:pt x="1204" y="790"/>
                      <a:pt x="1212" y="784"/>
                      <a:pt x="1217" y="782"/>
                    </a:cubicBezTo>
                    <a:cubicBezTo>
                      <a:pt x="1200" y="743"/>
                      <a:pt x="1240" y="669"/>
                      <a:pt x="1248" y="661"/>
                    </a:cubicBezTo>
                    <a:cubicBezTo>
                      <a:pt x="1255" y="654"/>
                      <a:pt x="1252" y="641"/>
                      <a:pt x="1242" y="6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15">
                <a:extLst>
                  <a:ext uri="{FF2B5EF4-FFF2-40B4-BE49-F238E27FC236}">
                    <a16:creationId xmlns:a16="http://schemas.microsoft.com/office/drawing/2014/main" id="{D71B0C01-8920-47E0-8799-5EB1F7869F5B}"/>
                  </a:ext>
                </a:extLst>
              </p:cNvPr>
              <p:cNvSpPr>
                <a:spLocks/>
              </p:cNvSpPr>
              <p:nvPr/>
            </p:nvSpPr>
            <p:spPr bwMode="auto">
              <a:xfrm>
                <a:off x="2284" y="3395"/>
                <a:ext cx="86" cy="58"/>
              </a:xfrm>
              <a:custGeom>
                <a:avLst/>
                <a:gdLst>
                  <a:gd name="T0" fmla="*/ 70 w 73"/>
                  <a:gd name="T1" fmla="*/ 16 h 50"/>
                  <a:gd name="T2" fmla="*/ 62 w 73"/>
                  <a:gd name="T3" fmla="*/ 9 h 50"/>
                  <a:gd name="T4" fmla="*/ 59 w 73"/>
                  <a:gd name="T5" fmla="*/ 5 h 50"/>
                  <a:gd name="T6" fmla="*/ 27 w 73"/>
                  <a:gd name="T7" fmla="*/ 0 h 50"/>
                  <a:gd name="T8" fmla="*/ 26 w 73"/>
                  <a:gd name="T9" fmla="*/ 0 h 50"/>
                  <a:gd name="T10" fmla="*/ 18 w 73"/>
                  <a:gd name="T11" fmla="*/ 2 h 50"/>
                  <a:gd name="T12" fmla="*/ 9 w 73"/>
                  <a:gd name="T13" fmla="*/ 10 h 50"/>
                  <a:gd name="T14" fmla="*/ 8 w 73"/>
                  <a:gd name="T15" fmla="*/ 10 h 50"/>
                  <a:gd name="T16" fmla="*/ 1 w 73"/>
                  <a:gd name="T17" fmla="*/ 17 h 50"/>
                  <a:gd name="T18" fmla="*/ 6 w 73"/>
                  <a:gd name="T19" fmla="*/ 30 h 50"/>
                  <a:gd name="T20" fmla="*/ 19 w 73"/>
                  <a:gd name="T21" fmla="*/ 44 h 50"/>
                  <a:gd name="T22" fmla="*/ 44 w 73"/>
                  <a:gd name="T23" fmla="*/ 50 h 50"/>
                  <a:gd name="T24" fmla="*/ 46 w 73"/>
                  <a:gd name="T25" fmla="*/ 50 h 50"/>
                  <a:gd name="T26" fmla="*/ 52 w 73"/>
                  <a:gd name="T27" fmla="*/ 46 h 50"/>
                  <a:gd name="T28" fmla="*/ 53 w 73"/>
                  <a:gd name="T29" fmla="*/ 44 h 50"/>
                  <a:gd name="T30" fmla="*/ 62 w 73"/>
                  <a:gd name="T31" fmla="*/ 38 h 50"/>
                  <a:gd name="T32" fmla="*/ 66 w 73"/>
                  <a:gd name="T33" fmla="*/ 36 h 50"/>
                  <a:gd name="T34" fmla="*/ 73 w 73"/>
                  <a:gd name="T35" fmla="*/ 21 h 50"/>
                  <a:gd name="T36" fmla="*/ 70 w 73"/>
                  <a:gd name="T3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50">
                    <a:moveTo>
                      <a:pt x="70" y="16"/>
                    </a:moveTo>
                    <a:cubicBezTo>
                      <a:pt x="67" y="15"/>
                      <a:pt x="65" y="12"/>
                      <a:pt x="62" y="9"/>
                    </a:cubicBezTo>
                    <a:cubicBezTo>
                      <a:pt x="61" y="7"/>
                      <a:pt x="60" y="5"/>
                      <a:pt x="59" y="5"/>
                    </a:cubicBezTo>
                    <a:cubicBezTo>
                      <a:pt x="56" y="3"/>
                      <a:pt x="33" y="0"/>
                      <a:pt x="27" y="0"/>
                    </a:cubicBezTo>
                    <a:cubicBezTo>
                      <a:pt x="27" y="0"/>
                      <a:pt x="27" y="0"/>
                      <a:pt x="26" y="0"/>
                    </a:cubicBezTo>
                    <a:cubicBezTo>
                      <a:pt x="25" y="0"/>
                      <a:pt x="20" y="1"/>
                      <a:pt x="18" y="2"/>
                    </a:cubicBezTo>
                    <a:cubicBezTo>
                      <a:pt x="17" y="7"/>
                      <a:pt x="12" y="9"/>
                      <a:pt x="9" y="10"/>
                    </a:cubicBezTo>
                    <a:cubicBezTo>
                      <a:pt x="8" y="10"/>
                      <a:pt x="8" y="10"/>
                      <a:pt x="8" y="10"/>
                    </a:cubicBezTo>
                    <a:cubicBezTo>
                      <a:pt x="4" y="12"/>
                      <a:pt x="2" y="14"/>
                      <a:pt x="1" y="17"/>
                    </a:cubicBezTo>
                    <a:cubicBezTo>
                      <a:pt x="0" y="19"/>
                      <a:pt x="4" y="29"/>
                      <a:pt x="6" y="30"/>
                    </a:cubicBezTo>
                    <a:cubicBezTo>
                      <a:pt x="10" y="32"/>
                      <a:pt x="17" y="38"/>
                      <a:pt x="19" y="44"/>
                    </a:cubicBezTo>
                    <a:cubicBezTo>
                      <a:pt x="22" y="46"/>
                      <a:pt x="34" y="49"/>
                      <a:pt x="44" y="50"/>
                    </a:cubicBezTo>
                    <a:cubicBezTo>
                      <a:pt x="45" y="50"/>
                      <a:pt x="45" y="50"/>
                      <a:pt x="46" y="50"/>
                    </a:cubicBezTo>
                    <a:cubicBezTo>
                      <a:pt x="51" y="50"/>
                      <a:pt x="51" y="48"/>
                      <a:pt x="52" y="46"/>
                    </a:cubicBezTo>
                    <a:cubicBezTo>
                      <a:pt x="52" y="46"/>
                      <a:pt x="52" y="45"/>
                      <a:pt x="53" y="44"/>
                    </a:cubicBezTo>
                    <a:cubicBezTo>
                      <a:pt x="54" y="43"/>
                      <a:pt x="56" y="42"/>
                      <a:pt x="62" y="38"/>
                    </a:cubicBezTo>
                    <a:cubicBezTo>
                      <a:pt x="63" y="37"/>
                      <a:pt x="65" y="36"/>
                      <a:pt x="66" y="36"/>
                    </a:cubicBezTo>
                    <a:cubicBezTo>
                      <a:pt x="68" y="34"/>
                      <a:pt x="73" y="24"/>
                      <a:pt x="73" y="21"/>
                    </a:cubicBezTo>
                    <a:cubicBezTo>
                      <a:pt x="73" y="19"/>
                      <a:pt x="72" y="16"/>
                      <a:pt x="7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16">
                <a:extLst>
                  <a:ext uri="{FF2B5EF4-FFF2-40B4-BE49-F238E27FC236}">
                    <a16:creationId xmlns:a16="http://schemas.microsoft.com/office/drawing/2014/main" id="{E2D38917-A08E-45D0-859A-EF689ED7620B}"/>
                  </a:ext>
                </a:extLst>
              </p:cNvPr>
              <p:cNvSpPr>
                <a:spLocks/>
              </p:cNvSpPr>
              <p:nvPr/>
            </p:nvSpPr>
            <p:spPr bwMode="auto">
              <a:xfrm>
                <a:off x="2458" y="3465"/>
                <a:ext cx="116" cy="87"/>
              </a:xfrm>
              <a:custGeom>
                <a:avLst/>
                <a:gdLst>
                  <a:gd name="T0" fmla="*/ 97 w 99"/>
                  <a:gd name="T1" fmla="*/ 62 h 74"/>
                  <a:gd name="T2" fmla="*/ 90 w 99"/>
                  <a:gd name="T3" fmla="*/ 56 h 74"/>
                  <a:gd name="T4" fmla="*/ 90 w 99"/>
                  <a:gd name="T5" fmla="*/ 48 h 74"/>
                  <a:gd name="T6" fmla="*/ 90 w 99"/>
                  <a:gd name="T7" fmla="*/ 43 h 74"/>
                  <a:gd name="T8" fmla="*/ 89 w 99"/>
                  <a:gd name="T9" fmla="*/ 41 h 74"/>
                  <a:gd name="T10" fmla="*/ 78 w 99"/>
                  <a:gd name="T11" fmla="*/ 36 h 74"/>
                  <a:gd name="T12" fmla="*/ 64 w 99"/>
                  <a:gd name="T13" fmla="*/ 33 h 74"/>
                  <a:gd name="T14" fmla="*/ 63 w 99"/>
                  <a:gd name="T15" fmla="*/ 32 h 74"/>
                  <a:gd name="T16" fmla="*/ 56 w 99"/>
                  <a:gd name="T17" fmla="*/ 21 h 74"/>
                  <a:gd name="T18" fmla="*/ 55 w 99"/>
                  <a:gd name="T19" fmla="*/ 18 h 74"/>
                  <a:gd name="T20" fmla="*/ 41 w 99"/>
                  <a:gd name="T21" fmla="*/ 3 h 74"/>
                  <a:gd name="T22" fmla="*/ 27 w 99"/>
                  <a:gd name="T23" fmla="*/ 0 h 74"/>
                  <a:gd name="T24" fmla="*/ 26 w 99"/>
                  <a:gd name="T25" fmla="*/ 0 h 74"/>
                  <a:gd name="T26" fmla="*/ 20 w 99"/>
                  <a:gd name="T27" fmla="*/ 5 h 74"/>
                  <a:gd name="T28" fmla="*/ 17 w 99"/>
                  <a:gd name="T29" fmla="*/ 8 h 74"/>
                  <a:gd name="T30" fmla="*/ 15 w 99"/>
                  <a:gd name="T31" fmla="*/ 10 h 74"/>
                  <a:gd name="T32" fmla="*/ 5 w 99"/>
                  <a:gd name="T33" fmla="*/ 17 h 74"/>
                  <a:gd name="T34" fmla="*/ 0 w 99"/>
                  <a:gd name="T35" fmla="*/ 22 h 74"/>
                  <a:gd name="T36" fmla="*/ 2 w 99"/>
                  <a:gd name="T37" fmla="*/ 31 h 74"/>
                  <a:gd name="T38" fmla="*/ 8 w 99"/>
                  <a:gd name="T39" fmla="*/ 36 h 74"/>
                  <a:gd name="T40" fmla="*/ 17 w 99"/>
                  <a:gd name="T41" fmla="*/ 39 h 74"/>
                  <a:gd name="T42" fmla="*/ 23 w 99"/>
                  <a:gd name="T43" fmla="*/ 54 h 74"/>
                  <a:gd name="T44" fmla="*/ 23 w 99"/>
                  <a:gd name="T45" fmla="*/ 57 h 74"/>
                  <a:gd name="T46" fmla="*/ 25 w 99"/>
                  <a:gd name="T47" fmla="*/ 69 h 74"/>
                  <a:gd name="T48" fmla="*/ 30 w 99"/>
                  <a:gd name="T49" fmla="*/ 71 h 74"/>
                  <a:gd name="T50" fmla="*/ 38 w 99"/>
                  <a:gd name="T51" fmla="*/ 55 h 74"/>
                  <a:gd name="T52" fmla="*/ 43 w 99"/>
                  <a:gd name="T53" fmla="*/ 51 h 74"/>
                  <a:gd name="T54" fmla="*/ 49 w 99"/>
                  <a:gd name="T55" fmla="*/ 54 h 74"/>
                  <a:gd name="T56" fmla="*/ 53 w 99"/>
                  <a:gd name="T57" fmla="*/ 57 h 74"/>
                  <a:gd name="T58" fmla="*/ 58 w 99"/>
                  <a:gd name="T59" fmla="*/ 57 h 74"/>
                  <a:gd name="T60" fmla="*/ 63 w 99"/>
                  <a:gd name="T61" fmla="*/ 56 h 74"/>
                  <a:gd name="T62" fmla="*/ 65 w 99"/>
                  <a:gd name="T63" fmla="*/ 56 h 74"/>
                  <a:gd name="T64" fmla="*/ 74 w 99"/>
                  <a:gd name="T65" fmla="*/ 63 h 74"/>
                  <a:gd name="T66" fmla="*/ 82 w 99"/>
                  <a:gd name="T67" fmla="*/ 72 h 74"/>
                  <a:gd name="T68" fmla="*/ 87 w 99"/>
                  <a:gd name="T69" fmla="*/ 74 h 74"/>
                  <a:gd name="T70" fmla="*/ 99 w 99"/>
                  <a:gd name="T71" fmla="*/ 66 h 74"/>
                  <a:gd name="T72" fmla="*/ 98 w 99"/>
                  <a:gd name="T73" fmla="*/ 62 h 74"/>
                  <a:gd name="T74" fmla="*/ 97 w 99"/>
                  <a:gd name="T75"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 h="74">
                    <a:moveTo>
                      <a:pt x="97" y="62"/>
                    </a:moveTo>
                    <a:cubicBezTo>
                      <a:pt x="95" y="62"/>
                      <a:pt x="91" y="61"/>
                      <a:pt x="90" y="56"/>
                    </a:cubicBezTo>
                    <a:cubicBezTo>
                      <a:pt x="90" y="54"/>
                      <a:pt x="90" y="51"/>
                      <a:pt x="90" y="48"/>
                    </a:cubicBezTo>
                    <a:cubicBezTo>
                      <a:pt x="90" y="46"/>
                      <a:pt x="90" y="45"/>
                      <a:pt x="90" y="43"/>
                    </a:cubicBezTo>
                    <a:cubicBezTo>
                      <a:pt x="90" y="43"/>
                      <a:pt x="90" y="42"/>
                      <a:pt x="89" y="41"/>
                    </a:cubicBezTo>
                    <a:cubicBezTo>
                      <a:pt x="86" y="38"/>
                      <a:pt x="80" y="36"/>
                      <a:pt x="78" y="36"/>
                    </a:cubicBezTo>
                    <a:cubicBezTo>
                      <a:pt x="75" y="38"/>
                      <a:pt x="70" y="36"/>
                      <a:pt x="64" y="33"/>
                    </a:cubicBezTo>
                    <a:cubicBezTo>
                      <a:pt x="63" y="32"/>
                      <a:pt x="63" y="32"/>
                      <a:pt x="63" y="32"/>
                    </a:cubicBezTo>
                    <a:cubicBezTo>
                      <a:pt x="59" y="30"/>
                      <a:pt x="58" y="26"/>
                      <a:pt x="56" y="21"/>
                    </a:cubicBezTo>
                    <a:cubicBezTo>
                      <a:pt x="56" y="20"/>
                      <a:pt x="55" y="19"/>
                      <a:pt x="55" y="18"/>
                    </a:cubicBezTo>
                    <a:cubicBezTo>
                      <a:pt x="54" y="15"/>
                      <a:pt x="46" y="7"/>
                      <a:pt x="41" y="3"/>
                    </a:cubicBezTo>
                    <a:cubicBezTo>
                      <a:pt x="40" y="2"/>
                      <a:pt x="32" y="0"/>
                      <a:pt x="27" y="0"/>
                    </a:cubicBezTo>
                    <a:cubicBezTo>
                      <a:pt x="27" y="0"/>
                      <a:pt x="26" y="0"/>
                      <a:pt x="26" y="0"/>
                    </a:cubicBezTo>
                    <a:cubicBezTo>
                      <a:pt x="25" y="0"/>
                      <a:pt x="21" y="4"/>
                      <a:pt x="20" y="5"/>
                    </a:cubicBezTo>
                    <a:cubicBezTo>
                      <a:pt x="19" y="6"/>
                      <a:pt x="18" y="7"/>
                      <a:pt x="17" y="8"/>
                    </a:cubicBezTo>
                    <a:cubicBezTo>
                      <a:pt x="16" y="8"/>
                      <a:pt x="16" y="9"/>
                      <a:pt x="15" y="10"/>
                    </a:cubicBezTo>
                    <a:cubicBezTo>
                      <a:pt x="12" y="13"/>
                      <a:pt x="9" y="16"/>
                      <a:pt x="5" y="17"/>
                    </a:cubicBezTo>
                    <a:cubicBezTo>
                      <a:pt x="3" y="18"/>
                      <a:pt x="0" y="20"/>
                      <a:pt x="0" y="22"/>
                    </a:cubicBezTo>
                    <a:cubicBezTo>
                      <a:pt x="0" y="25"/>
                      <a:pt x="1" y="30"/>
                      <a:pt x="2" y="31"/>
                    </a:cubicBezTo>
                    <a:cubicBezTo>
                      <a:pt x="4" y="32"/>
                      <a:pt x="7" y="33"/>
                      <a:pt x="8" y="36"/>
                    </a:cubicBezTo>
                    <a:cubicBezTo>
                      <a:pt x="9" y="37"/>
                      <a:pt x="13" y="38"/>
                      <a:pt x="17" y="39"/>
                    </a:cubicBezTo>
                    <a:cubicBezTo>
                      <a:pt x="25" y="40"/>
                      <a:pt x="24" y="48"/>
                      <a:pt x="23" y="54"/>
                    </a:cubicBezTo>
                    <a:cubicBezTo>
                      <a:pt x="23" y="55"/>
                      <a:pt x="23" y="56"/>
                      <a:pt x="23" y="57"/>
                    </a:cubicBezTo>
                    <a:cubicBezTo>
                      <a:pt x="22" y="63"/>
                      <a:pt x="24" y="67"/>
                      <a:pt x="25" y="69"/>
                    </a:cubicBezTo>
                    <a:cubicBezTo>
                      <a:pt x="28" y="71"/>
                      <a:pt x="29" y="71"/>
                      <a:pt x="30" y="71"/>
                    </a:cubicBezTo>
                    <a:cubicBezTo>
                      <a:pt x="33" y="71"/>
                      <a:pt x="36" y="66"/>
                      <a:pt x="38" y="55"/>
                    </a:cubicBezTo>
                    <a:cubicBezTo>
                      <a:pt x="39" y="52"/>
                      <a:pt x="41" y="51"/>
                      <a:pt x="43" y="51"/>
                    </a:cubicBezTo>
                    <a:cubicBezTo>
                      <a:pt x="45" y="51"/>
                      <a:pt x="47" y="52"/>
                      <a:pt x="49" y="54"/>
                    </a:cubicBezTo>
                    <a:cubicBezTo>
                      <a:pt x="50" y="55"/>
                      <a:pt x="52" y="56"/>
                      <a:pt x="53" y="57"/>
                    </a:cubicBezTo>
                    <a:cubicBezTo>
                      <a:pt x="55" y="58"/>
                      <a:pt x="56" y="57"/>
                      <a:pt x="58" y="57"/>
                    </a:cubicBezTo>
                    <a:cubicBezTo>
                      <a:pt x="59" y="57"/>
                      <a:pt x="61" y="56"/>
                      <a:pt x="63" y="56"/>
                    </a:cubicBezTo>
                    <a:cubicBezTo>
                      <a:pt x="64" y="56"/>
                      <a:pt x="64" y="56"/>
                      <a:pt x="65" y="56"/>
                    </a:cubicBezTo>
                    <a:cubicBezTo>
                      <a:pt x="69" y="56"/>
                      <a:pt x="71" y="60"/>
                      <a:pt x="74" y="63"/>
                    </a:cubicBezTo>
                    <a:cubicBezTo>
                      <a:pt x="75" y="65"/>
                      <a:pt x="77" y="69"/>
                      <a:pt x="82" y="72"/>
                    </a:cubicBezTo>
                    <a:cubicBezTo>
                      <a:pt x="83" y="74"/>
                      <a:pt x="85" y="74"/>
                      <a:pt x="87" y="74"/>
                    </a:cubicBezTo>
                    <a:cubicBezTo>
                      <a:pt x="92" y="74"/>
                      <a:pt x="98" y="68"/>
                      <a:pt x="99" y="66"/>
                    </a:cubicBezTo>
                    <a:cubicBezTo>
                      <a:pt x="99" y="65"/>
                      <a:pt x="99" y="63"/>
                      <a:pt x="98" y="62"/>
                    </a:cubicBezTo>
                    <a:cubicBezTo>
                      <a:pt x="97" y="62"/>
                      <a:pt x="97" y="62"/>
                      <a:pt x="97"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17">
                <a:extLst>
                  <a:ext uri="{FF2B5EF4-FFF2-40B4-BE49-F238E27FC236}">
                    <a16:creationId xmlns:a16="http://schemas.microsoft.com/office/drawing/2014/main" id="{2D50AFFC-738E-4169-A0E1-4A4F428E447F}"/>
                  </a:ext>
                </a:extLst>
              </p:cNvPr>
              <p:cNvSpPr>
                <a:spLocks/>
              </p:cNvSpPr>
              <p:nvPr/>
            </p:nvSpPr>
            <p:spPr bwMode="auto">
              <a:xfrm>
                <a:off x="2625" y="3555"/>
                <a:ext cx="60" cy="29"/>
              </a:xfrm>
              <a:custGeom>
                <a:avLst/>
                <a:gdLst>
                  <a:gd name="T0" fmla="*/ 51 w 51"/>
                  <a:gd name="T1" fmla="*/ 8 h 25"/>
                  <a:gd name="T2" fmla="*/ 49 w 51"/>
                  <a:gd name="T3" fmla="*/ 0 h 25"/>
                  <a:gd name="T4" fmla="*/ 46 w 51"/>
                  <a:gd name="T5" fmla="*/ 0 h 25"/>
                  <a:gd name="T6" fmla="*/ 34 w 51"/>
                  <a:gd name="T7" fmla="*/ 1 h 25"/>
                  <a:gd name="T8" fmla="*/ 23 w 51"/>
                  <a:gd name="T9" fmla="*/ 2 h 25"/>
                  <a:gd name="T10" fmla="*/ 11 w 51"/>
                  <a:gd name="T11" fmla="*/ 9 h 25"/>
                  <a:gd name="T12" fmla="*/ 1 w 51"/>
                  <a:gd name="T13" fmla="*/ 17 h 25"/>
                  <a:gd name="T14" fmla="*/ 0 w 51"/>
                  <a:gd name="T15" fmla="*/ 18 h 25"/>
                  <a:gd name="T16" fmla="*/ 12 w 51"/>
                  <a:gd name="T17" fmla="*/ 24 h 25"/>
                  <a:gd name="T18" fmla="*/ 18 w 51"/>
                  <a:gd name="T19" fmla="*/ 25 h 25"/>
                  <a:gd name="T20" fmla="*/ 24 w 51"/>
                  <a:gd name="T21" fmla="*/ 22 h 25"/>
                  <a:gd name="T22" fmla="*/ 37 w 51"/>
                  <a:gd name="T23" fmla="*/ 13 h 25"/>
                  <a:gd name="T24" fmla="*/ 51 w 51"/>
                  <a:gd name="T25"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25">
                    <a:moveTo>
                      <a:pt x="51" y="8"/>
                    </a:moveTo>
                    <a:cubicBezTo>
                      <a:pt x="51" y="8"/>
                      <a:pt x="51" y="6"/>
                      <a:pt x="49" y="0"/>
                    </a:cubicBezTo>
                    <a:cubicBezTo>
                      <a:pt x="49" y="0"/>
                      <a:pt x="48" y="0"/>
                      <a:pt x="46" y="0"/>
                    </a:cubicBezTo>
                    <a:cubicBezTo>
                      <a:pt x="43" y="0"/>
                      <a:pt x="39" y="1"/>
                      <a:pt x="34" y="1"/>
                    </a:cubicBezTo>
                    <a:cubicBezTo>
                      <a:pt x="30" y="2"/>
                      <a:pt x="26" y="2"/>
                      <a:pt x="23" y="2"/>
                    </a:cubicBezTo>
                    <a:cubicBezTo>
                      <a:pt x="16" y="2"/>
                      <a:pt x="12" y="6"/>
                      <a:pt x="11" y="9"/>
                    </a:cubicBezTo>
                    <a:cubicBezTo>
                      <a:pt x="9" y="12"/>
                      <a:pt x="5" y="15"/>
                      <a:pt x="1" y="17"/>
                    </a:cubicBezTo>
                    <a:cubicBezTo>
                      <a:pt x="1" y="17"/>
                      <a:pt x="0" y="17"/>
                      <a:pt x="0" y="18"/>
                    </a:cubicBezTo>
                    <a:cubicBezTo>
                      <a:pt x="2" y="19"/>
                      <a:pt x="5" y="21"/>
                      <a:pt x="12" y="24"/>
                    </a:cubicBezTo>
                    <a:cubicBezTo>
                      <a:pt x="14" y="25"/>
                      <a:pt x="16" y="25"/>
                      <a:pt x="18" y="25"/>
                    </a:cubicBezTo>
                    <a:cubicBezTo>
                      <a:pt x="22" y="25"/>
                      <a:pt x="24" y="23"/>
                      <a:pt x="24" y="22"/>
                    </a:cubicBezTo>
                    <a:cubicBezTo>
                      <a:pt x="26" y="16"/>
                      <a:pt x="37" y="13"/>
                      <a:pt x="37" y="13"/>
                    </a:cubicBezTo>
                    <a:cubicBezTo>
                      <a:pt x="40" y="13"/>
                      <a:pt x="47" y="10"/>
                      <a:pt x="5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18">
                <a:extLst>
                  <a:ext uri="{FF2B5EF4-FFF2-40B4-BE49-F238E27FC236}">
                    <a16:creationId xmlns:a16="http://schemas.microsoft.com/office/drawing/2014/main" id="{0D090605-715C-413D-8856-9CA4F3E30388}"/>
                  </a:ext>
                </a:extLst>
              </p:cNvPr>
              <p:cNvSpPr>
                <a:spLocks/>
              </p:cNvSpPr>
              <p:nvPr/>
            </p:nvSpPr>
            <p:spPr bwMode="auto">
              <a:xfrm>
                <a:off x="2692" y="3562"/>
                <a:ext cx="50" cy="23"/>
              </a:xfrm>
              <a:custGeom>
                <a:avLst/>
                <a:gdLst>
                  <a:gd name="T0" fmla="*/ 19 w 43"/>
                  <a:gd name="T1" fmla="*/ 19 h 20"/>
                  <a:gd name="T2" fmla="*/ 22 w 43"/>
                  <a:gd name="T3" fmla="*/ 20 h 20"/>
                  <a:gd name="T4" fmla="*/ 27 w 43"/>
                  <a:gd name="T5" fmla="*/ 16 h 20"/>
                  <a:gd name="T6" fmla="*/ 28 w 43"/>
                  <a:gd name="T7" fmla="*/ 15 h 20"/>
                  <a:gd name="T8" fmla="*/ 43 w 43"/>
                  <a:gd name="T9" fmla="*/ 8 h 20"/>
                  <a:gd name="T10" fmla="*/ 43 w 43"/>
                  <a:gd name="T11" fmla="*/ 8 h 20"/>
                  <a:gd name="T12" fmla="*/ 40 w 43"/>
                  <a:gd name="T13" fmla="*/ 5 h 20"/>
                  <a:gd name="T14" fmla="*/ 36 w 43"/>
                  <a:gd name="T15" fmla="*/ 3 h 20"/>
                  <a:gd name="T16" fmla="*/ 32 w 43"/>
                  <a:gd name="T17" fmla="*/ 2 h 20"/>
                  <a:gd name="T18" fmla="*/ 26 w 43"/>
                  <a:gd name="T19" fmla="*/ 0 h 20"/>
                  <a:gd name="T20" fmla="*/ 15 w 43"/>
                  <a:gd name="T21" fmla="*/ 4 h 20"/>
                  <a:gd name="T22" fmla="*/ 6 w 43"/>
                  <a:gd name="T23" fmla="*/ 8 h 20"/>
                  <a:gd name="T24" fmla="*/ 2 w 43"/>
                  <a:gd name="T25" fmla="*/ 14 h 20"/>
                  <a:gd name="T26" fmla="*/ 0 w 43"/>
                  <a:gd name="T27" fmla="*/ 16 h 20"/>
                  <a:gd name="T28" fmla="*/ 8 w 43"/>
                  <a:gd name="T29" fmla="*/ 17 h 20"/>
                  <a:gd name="T30" fmla="*/ 19 w 43"/>
                  <a:gd name="T31"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19" y="19"/>
                    </a:moveTo>
                    <a:cubicBezTo>
                      <a:pt x="20" y="20"/>
                      <a:pt x="21" y="20"/>
                      <a:pt x="22" y="20"/>
                    </a:cubicBezTo>
                    <a:cubicBezTo>
                      <a:pt x="25" y="20"/>
                      <a:pt x="26" y="18"/>
                      <a:pt x="27" y="16"/>
                    </a:cubicBezTo>
                    <a:cubicBezTo>
                      <a:pt x="27" y="16"/>
                      <a:pt x="28" y="15"/>
                      <a:pt x="28" y="15"/>
                    </a:cubicBezTo>
                    <a:cubicBezTo>
                      <a:pt x="30" y="12"/>
                      <a:pt x="34" y="11"/>
                      <a:pt x="43" y="8"/>
                    </a:cubicBezTo>
                    <a:cubicBezTo>
                      <a:pt x="43" y="8"/>
                      <a:pt x="43" y="8"/>
                      <a:pt x="43" y="8"/>
                    </a:cubicBezTo>
                    <a:cubicBezTo>
                      <a:pt x="42" y="7"/>
                      <a:pt x="41" y="6"/>
                      <a:pt x="40" y="5"/>
                    </a:cubicBezTo>
                    <a:cubicBezTo>
                      <a:pt x="39" y="4"/>
                      <a:pt x="37" y="4"/>
                      <a:pt x="36" y="3"/>
                    </a:cubicBezTo>
                    <a:cubicBezTo>
                      <a:pt x="35" y="3"/>
                      <a:pt x="33" y="2"/>
                      <a:pt x="32" y="2"/>
                    </a:cubicBezTo>
                    <a:cubicBezTo>
                      <a:pt x="30" y="1"/>
                      <a:pt x="28" y="1"/>
                      <a:pt x="26" y="0"/>
                    </a:cubicBezTo>
                    <a:cubicBezTo>
                      <a:pt x="24" y="2"/>
                      <a:pt x="20" y="4"/>
                      <a:pt x="15" y="4"/>
                    </a:cubicBezTo>
                    <a:cubicBezTo>
                      <a:pt x="12" y="4"/>
                      <a:pt x="7" y="7"/>
                      <a:pt x="6" y="8"/>
                    </a:cubicBezTo>
                    <a:cubicBezTo>
                      <a:pt x="5" y="10"/>
                      <a:pt x="4" y="12"/>
                      <a:pt x="2" y="14"/>
                    </a:cubicBezTo>
                    <a:cubicBezTo>
                      <a:pt x="1" y="15"/>
                      <a:pt x="1" y="16"/>
                      <a:pt x="0" y="16"/>
                    </a:cubicBezTo>
                    <a:cubicBezTo>
                      <a:pt x="2" y="17"/>
                      <a:pt x="5" y="17"/>
                      <a:pt x="8" y="17"/>
                    </a:cubicBezTo>
                    <a:cubicBezTo>
                      <a:pt x="11" y="18"/>
                      <a:pt x="15" y="19"/>
                      <a:pt x="1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19">
                <a:extLst>
                  <a:ext uri="{FF2B5EF4-FFF2-40B4-BE49-F238E27FC236}">
                    <a16:creationId xmlns:a16="http://schemas.microsoft.com/office/drawing/2014/main" id="{5BE4A841-9E7A-4789-BE74-AAC312303E72}"/>
                  </a:ext>
                </a:extLst>
              </p:cNvPr>
              <p:cNvSpPr>
                <a:spLocks/>
              </p:cNvSpPr>
              <p:nvPr/>
            </p:nvSpPr>
            <p:spPr bwMode="auto">
              <a:xfrm>
                <a:off x="2666" y="3602"/>
                <a:ext cx="55" cy="43"/>
              </a:xfrm>
              <a:custGeom>
                <a:avLst/>
                <a:gdLst>
                  <a:gd name="T0" fmla="*/ 47 w 47"/>
                  <a:gd name="T1" fmla="*/ 26 h 37"/>
                  <a:gd name="T2" fmla="*/ 41 w 47"/>
                  <a:gd name="T3" fmla="*/ 16 h 37"/>
                  <a:gd name="T4" fmla="*/ 37 w 47"/>
                  <a:gd name="T5" fmla="*/ 10 h 37"/>
                  <a:gd name="T6" fmla="*/ 25 w 47"/>
                  <a:gd name="T7" fmla="*/ 3 h 37"/>
                  <a:gd name="T8" fmla="*/ 18 w 47"/>
                  <a:gd name="T9" fmla="*/ 2 h 37"/>
                  <a:gd name="T10" fmla="*/ 12 w 47"/>
                  <a:gd name="T11" fmla="*/ 1 h 37"/>
                  <a:gd name="T12" fmla="*/ 5 w 47"/>
                  <a:gd name="T13" fmla="*/ 0 h 37"/>
                  <a:gd name="T14" fmla="*/ 0 w 47"/>
                  <a:gd name="T15" fmla="*/ 1 h 37"/>
                  <a:gd name="T16" fmla="*/ 0 w 47"/>
                  <a:gd name="T17" fmla="*/ 9 h 37"/>
                  <a:gd name="T18" fmla="*/ 1 w 47"/>
                  <a:gd name="T19" fmla="*/ 15 h 37"/>
                  <a:gd name="T20" fmla="*/ 8 w 47"/>
                  <a:gd name="T21" fmla="*/ 17 h 37"/>
                  <a:gd name="T22" fmla="*/ 10 w 47"/>
                  <a:gd name="T23" fmla="*/ 18 h 37"/>
                  <a:gd name="T24" fmla="*/ 16 w 47"/>
                  <a:gd name="T25" fmla="*/ 21 h 37"/>
                  <a:gd name="T26" fmla="*/ 16 w 47"/>
                  <a:gd name="T27" fmla="*/ 33 h 37"/>
                  <a:gd name="T28" fmla="*/ 16 w 47"/>
                  <a:gd name="T29" fmla="*/ 34 h 37"/>
                  <a:gd name="T30" fmla="*/ 23 w 47"/>
                  <a:gd name="T31" fmla="*/ 37 h 37"/>
                  <a:gd name="T32" fmla="*/ 24 w 47"/>
                  <a:gd name="T33" fmla="*/ 37 h 37"/>
                  <a:gd name="T34" fmla="*/ 25 w 47"/>
                  <a:gd name="T35" fmla="*/ 33 h 37"/>
                  <a:gd name="T36" fmla="*/ 25 w 47"/>
                  <a:gd name="T37" fmla="*/ 32 h 37"/>
                  <a:gd name="T38" fmla="*/ 33 w 47"/>
                  <a:gd name="T39" fmla="*/ 28 h 37"/>
                  <a:gd name="T40" fmla="*/ 41 w 47"/>
                  <a:gd name="T41" fmla="*/ 29 h 37"/>
                  <a:gd name="T42" fmla="*/ 46 w 47"/>
                  <a:gd name="T43" fmla="*/ 29 h 37"/>
                  <a:gd name="T44" fmla="*/ 47 w 47"/>
                  <a:gd name="T45"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37">
                    <a:moveTo>
                      <a:pt x="47" y="26"/>
                    </a:moveTo>
                    <a:cubicBezTo>
                      <a:pt x="44" y="23"/>
                      <a:pt x="41" y="16"/>
                      <a:pt x="41" y="16"/>
                    </a:cubicBezTo>
                    <a:cubicBezTo>
                      <a:pt x="40" y="14"/>
                      <a:pt x="38" y="11"/>
                      <a:pt x="37" y="10"/>
                    </a:cubicBezTo>
                    <a:cubicBezTo>
                      <a:pt x="30" y="10"/>
                      <a:pt x="26" y="8"/>
                      <a:pt x="25" y="3"/>
                    </a:cubicBezTo>
                    <a:cubicBezTo>
                      <a:pt x="24" y="3"/>
                      <a:pt x="20" y="2"/>
                      <a:pt x="18" y="2"/>
                    </a:cubicBezTo>
                    <a:cubicBezTo>
                      <a:pt x="16" y="1"/>
                      <a:pt x="14" y="1"/>
                      <a:pt x="12" y="1"/>
                    </a:cubicBezTo>
                    <a:cubicBezTo>
                      <a:pt x="9" y="0"/>
                      <a:pt x="7" y="0"/>
                      <a:pt x="5" y="0"/>
                    </a:cubicBezTo>
                    <a:cubicBezTo>
                      <a:pt x="2" y="0"/>
                      <a:pt x="0" y="1"/>
                      <a:pt x="0" y="1"/>
                    </a:cubicBezTo>
                    <a:cubicBezTo>
                      <a:pt x="0" y="3"/>
                      <a:pt x="0" y="6"/>
                      <a:pt x="0" y="9"/>
                    </a:cubicBezTo>
                    <a:cubicBezTo>
                      <a:pt x="0" y="11"/>
                      <a:pt x="1" y="13"/>
                      <a:pt x="1" y="15"/>
                    </a:cubicBezTo>
                    <a:cubicBezTo>
                      <a:pt x="1" y="16"/>
                      <a:pt x="5" y="17"/>
                      <a:pt x="8" y="17"/>
                    </a:cubicBezTo>
                    <a:cubicBezTo>
                      <a:pt x="8" y="17"/>
                      <a:pt x="9" y="17"/>
                      <a:pt x="10" y="18"/>
                    </a:cubicBezTo>
                    <a:cubicBezTo>
                      <a:pt x="13" y="18"/>
                      <a:pt x="15" y="20"/>
                      <a:pt x="16" y="21"/>
                    </a:cubicBezTo>
                    <a:cubicBezTo>
                      <a:pt x="18" y="25"/>
                      <a:pt x="17" y="29"/>
                      <a:pt x="16" y="33"/>
                    </a:cubicBezTo>
                    <a:cubicBezTo>
                      <a:pt x="16" y="34"/>
                      <a:pt x="16" y="34"/>
                      <a:pt x="16" y="34"/>
                    </a:cubicBezTo>
                    <a:cubicBezTo>
                      <a:pt x="16" y="34"/>
                      <a:pt x="17" y="36"/>
                      <a:pt x="23" y="37"/>
                    </a:cubicBezTo>
                    <a:cubicBezTo>
                      <a:pt x="24" y="37"/>
                      <a:pt x="24" y="37"/>
                      <a:pt x="24" y="37"/>
                    </a:cubicBezTo>
                    <a:cubicBezTo>
                      <a:pt x="24" y="37"/>
                      <a:pt x="25" y="34"/>
                      <a:pt x="25" y="33"/>
                    </a:cubicBezTo>
                    <a:cubicBezTo>
                      <a:pt x="25" y="33"/>
                      <a:pt x="25" y="33"/>
                      <a:pt x="25" y="32"/>
                    </a:cubicBezTo>
                    <a:cubicBezTo>
                      <a:pt x="25" y="30"/>
                      <a:pt x="27" y="28"/>
                      <a:pt x="33" y="28"/>
                    </a:cubicBezTo>
                    <a:cubicBezTo>
                      <a:pt x="35" y="28"/>
                      <a:pt x="38" y="28"/>
                      <a:pt x="41" y="29"/>
                    </a:cubicBezTo>
                    <a:cubicBezTo>
                      <a:pt x="43" y="29"/>
                      <a:pt x="45" y="29"/>
                      <a:pt x="46" y="29"/>
                    </a:cubicBezTo>
                    <a:cubicBezTo>
                      <a:pt x="47" y="29"/>
                      <a:pt x="47" y="27"/>
                      <a:pt x="4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20">
                <a:extLst>
                  <a:ext uri="{FF2B5EF4-FFF2-40B4-BE49-F238E27FC236}">
                    <a16:creationId xmlns:a16="http://schemas.microsoft.com/office/drawing/2014/main" id="{F9E00D82-0F74-4A3A-9843-2261200C58A0}"/>
                  </a:ext>
                </a:extLst>
              </p:cNvPr>
              <p:cNvSpPr>
                <a:spLocks/>
              </p:cNvSpPr>
              <p:nvPr/>
            </p:nvSpPr>
            <p:spPr bwMode="auto">
              <a:xfrm>
                <a:off x="2740" y="3588"/>
                <a:ext cx="136" cy="87"/>
              </a:xfrm>
              <a:custGeom>
                <a:avLst/>
                <a:gdLst>
                  <a:gd name="T0" fmla="*/ 113 w 116"/>
                  <a:gd name="T1" fmla="*/ 51 h 74"/>
                  <a:gd name="T2" fmla="*/ 115 w 116"/>
                  <a:gd name="T3" fmla="*/ 51 h 74"/>
                  <a:gd name="T4" fmla="*/ 112 w 116"/>
                  <a:gd name="T5" fmla="*/ 41 h 74"/>
                  <a:gd name="T6" fmla="*/ 93 w 116"/>
                  <a:gd name="T7" fmla="*/ 36 h 74"/>
                  <a:gd name="T8" fmla="*/ 90 w 116"/>
                  <a:gd name="T9" fmla="*/ 36 h 74"/>
                  <a:gd name="T10" fmla="*/ 75 w 116"/>
                  <a:gd name="T11" fmla="*/ 24 h 74"/>
                  <a:gd name="T12" fmla="*/ 74 w 116"/>
                  <a:gd name="T13" fmla="*/ 22 h 74"/>
                  <a:gd name="T14" fmla="*/ 60 w 116"/>
                  <a:gd name="T15" fmla="*/ 14 h 74"/>
                  <a:gd name="T16" fmla="*/ 52 w 116"/>
                  <a:gd name="T17" fmla="*/ 18 h 74"/>
                  <a:gd name="T18" fmla="*/ 47 w 116"/>
                  <a:gd name="T19" fmla="*/ 21 h 74"/>
                  <a:gd name="T20" fmla="*/ 28 w 116"/>
                  <a:gd name="T21" fmla="*/ 22 h 74"/>
                  <a:gd name="T22" fmla="*/ 26 w 116"/>
                  <a:gd name="T23" fmla="*/ 21 h 74"/>
                  <a:gd name="T24" fmla="*/ 14 w 116"/>
                  <a:gd name="T25" fmla="*/ 5 h 74"/>
                  <a:gd name="T26" fmla="*/ 13 w 116"/>
                  <a:gd name="T27" fmla="*/ 3 h 74"/>
                  <a:gd name="T28" fmla="*/ 10 w 116"/>
                  <a:gd name="T29" fmla="*/ 0 h 74"/>
                  <a:gd name="T30" fmla="*/ 6 w 116"/>
                  <a:gd name="T31" fmla="*/ 2 h 74"/>
                  <a:gd name="T32" fmla="*/ 0 w 116"/>
                  <a:gd name="T33" fmla="*/ 19 h 74"/>
                  <a:gd name="T34" fmla="*/ 8 w 116"/>
                  <a:gd name="T35" fmla="*/ 28 h 74"/>
                  <a:gd name="T36" fmla="*/ 20 w 116"/>
                  <a:gd name="T37" fmla="*/ 29 h 74"/>
                  <a:gd name="T38" fmla="*/ 29 w 116"/>
                  <a:gd name="T39" fmla="*/ 29 h 74"/>
                  <a:gd name="T40" fmla="*/ 38 w 116"/>
                  <a:gd name="T41" fmla="*/ 43 h 74"/>
                  <a:gd name="T42" fmla="*/ 38 w 116"/>
                  <a:gd name="T43" fmla="*/ 53 h 74"/>
                  <a:gd name="T44" fmla="*/ 37 w 116"/>
                  <a:gd name="T45" fmla="*/ 60 h 74"/>
                  <a:gd name="T46" fmla="*/ 45 w 116"/>
                  <a:gd name="T47" fmla="*/ 72 h 74"/>
                  <a:gd name="T48" fmla="*/ 60 w 116"/>
                  <a:gd name="T49" fmla="*/ 74 h 74"/>
                  <a:gd name="T50" fmla="*/ 67 w 116"/>
                  <a:gd name="T51" fmla="*/ 73 h 74"/>
                  <a:gd name="T52" fmla="*/ 68 w 116"/>
                  <a:gd name="T53" fmla="*/ 66 h 74"/>
                  <a:gd name="T54" fmla="*/ 71 w 116"/>
                  <a:gd name="T55" fmla="*/ 54 h 74"/>
                  <a:gd name="T56" fmla="*/ 87 w 116"/>
                  <a:gd name="T57" fmla="*/ 51 h 74"/>
                  <a:gd name="T58" fmla="*/ 97 w 116"/>
                  <a:gd name="T59" fmla="*/ 52 h 74"/>
                  <a:gd name="T60" fmla="*/ 107 w 116"/>
                  <a:gd name="T61" fmla="*/ 52 h 74"/>
                  <a:gd name="T62" fmla="*/ 113 w 116"/>
                  <a:gd name="T6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 h="74">
                    <a:moveTo>
                      <a:pt x="113" y="51"/>
                    </a:moveTo>
                    <a:cubicBezTo>
                      <a:pt x="114" y="51"/>
                      <a:pt x="115" y="51"/>
                      <a:pt x="115" y="51"/>
                    </a:cubicBezTo>
                    <a:cubicBezTo>
                      <a:pt x="116" y="49"/>
                      <a:pt x="114" y="44"/>
                      <a:pt x="112" y="41"/>
                    </a:cubicBezTo>
                    <a:cubicBezTo>
                      <a:pt x="110" y="37"/>
                      <a:pt x="100" y="36"/>
                      <a:pt x="93" y="36"/>
                    </a:cubicBezTo>
                    <a:cubicBezTo>
                      <a:pt x="92" y="36"/>
                      <a:pt x="91" y="36"/>
                      <a:pt x="90" y="36"/>
                    </a:cubicBezTo>
                    <a:cubicBezTo>
                      <a:pt x="83" y="37"/>
                      <a:pt x="78" y="29"/>
                      <a:pt x="75" y="24"/>
                    </a:cubicBezTo>
                    <a:cubicBezTo>
                      <a:pt x="75" y="23"/>
                      <a:pt x="74" y="22"/>
                      <a:pt x="74" y="22"/>
                    </a:cubicBezTo>
                    <a:cubicBezTo>
                      <a:pt x="72" y="19"/>
                      <a:pt x="67" y="16"/>
                      <a:pt x="60" y="14"/>
                    </a:cubicBezTo>
                    <a:cubicBezTo>
                      <a:pt x="56" y="14"/>
                      <a:pt x="55" y="15"/>
                      <a:pt x="52" y="18"/>
                    </a:cubicBezTo>
                    <a:cubicBezTo>
                      <a:pt x="50" y="19"/>
                      <a:pt x="49" y="20"/>
                      <a:pt x="47" y="21"/>
                    </a:cubicBezTo>
                    <a:cubicBezTo>
                      <a:pt x="43" y="24"/>
                      <a:pt x="37" y="23"/>
                      <a:pt x="28" y="22"/>
                    </a:cubicBezTo>
                    <a:cubicBezTo>
                      <a:pt x="26" y="21"/>
                      <a:pt x="26" y="21"/>
                      <a:pt x="26" y="21"/>
                    </a:cubicBezTo>
                    <a:cubicBezTo>
                      <a:pt x="17" y="20"/>
                      <a:pt x="15" y="10"/>
                      <a:pt x="14" y="5"/>
                    </a:cubicBezTo>
                    <a:cubicBezTo>
                      <a:pt x="14" y="5"/>
                      <a:pt x="14" y="4"/>
                      <a:pt x="13" y="3"/>
                    </a:cubicBezTo>
                    <a:cubicBezTo>
                      <a:pt x="13" y="3"/>
                      <a:pt x="12" y="0"/>
                      <a:pt x="10" y="0"/>
                    </a:cubicBezTo>
                    <a:cubicBezTo>
                      <a:pt x="9" y="0"/>
                      <a:pt x="8" y="1"/>
                      <a:pt x="6" y="2"/>
                    </a:cubicBezTo>
                    <a:cubicBezTo>
                      <a:pt x="4" y="4"/>
                      <a:pt x="1" y="14"/>
                      <a:pt x="0" y="19"/>
                    </a:cubicBezTo>
                    <a:cubicBezTo>
                      <a:pt x="0" y="21"/>
                      <a:pt x="4" y="25"/>
                      <a:pt x="8" y="28"/>
                    </a:cubicBezTo>
                    <a:cubicBezTo>
                      <a:pt x="10" y="29"/>
                      <a:pt x="16" y="29"/>
                      <a:pt x="20" y="29"/>
                    </a:cubicBezTo>
                    <a:cubicBezTo>
                      <a:pt x="24" y="29"/>
                      <a:pt x="27" y="29"/>
                      <a:pt x="29" y="29"/>
                    </a:cubicBezTo>
                    <a:cubicBezTo>
                      <a:pt x="33" y="30"/>
                      <a:pt x="38" y="33"/>
                      <a:pt x="38" y="43"/>
                    </a:cubicBezTo>
                    <a:cubicBezTo>
                      <a:pt x="38" y="46"/>
                      <a:pt x="38" y="50"/>
                      <a:pt x="38" y="53"/>
                    </a:cubicBezTo>
                    <a:cubicBezTo>
                      <a:pt x="38" y="56"/>
                      <a:pt x="37" y="59"/>
                      <a:pt x="37" y="60"/>
                    </a:cubicBezTo>
                    <a:cubicBezTo>
                      <a:pt x="38" y="68"/>
                      <a:pt x="45" y="72"/>
                      <a:pt x="45" y="72"/>
                    </a:cubicBezTo>
                    <a:cubicBezTo>
                      <a:pt x="47" y="73"/>
                      <a:pt x="53" y="74"/>
                      <a:pt x="60" y="74"/>
                    </a:cubicBezTo>
                    <a:cubicBezTo>
                      <a:pt x="64" y="74"/>
                      <a:pt x="66" y="74"/>
                      <a:pt x="67" y="73"/>
                    </a:cubicBezTo>
                    <a:cubicBezTo>
                      <a:pt x="68" y="73"/>
                      <a:pt x="68" y="68"/>
                      <a:pt x="68" y="66"/>
                    </a:cubicBezTo>
                    <a:cubicBezTo>
                      <a:pt x="67" y="61"/>
                      <a:pt x="67" y="57"/>
                      <a:pt x="71" y="54"/>
                    </a:cubicBezTo>
                    <a:cubicBezTo>
                      <a:pt x="73" y="52"/>
                      <a:pt x="77" y="51"/>
                      <a:pt x="87" y="51"/>
                    </a:cubicBezTo>
                    <a:cubicBezTo>
                      <a:pt x="90" y="51"/>
                      <a:pt x="94" y="51"/>
                      <a:pt x="97" y="52"/>
                    </a:cubicBezTo>
                    <a:cubicBezTo>
                      <a:pt x="101" y="52"/>
                      <a:pt x="104" y="52"/>
                      <a:pt x="107" y="52"/>
                    </a:cubicBezTo>
                    <a:cubicBezTo>
                      <a:pt x="110" y="52"/>
                      <a:pt x="112" y="52"/>
                      <a:pt x="113"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21">
                <a:extLst>
                  <a:ext uri="{FF2B5EF4-FFF2-40B4-BE49-F238E27FC236}">
                    <a16:creationId xmlns:a16="http://schemas.microsoft.com/office/drawing/2014/main" id="{DDE83FF8-8147-4FA4-B703-A1293599865F}"/>
                  </a:ext>
                </a:extLst>
              </p:cNvPr>
              <p:cNvSpPr>
                <a:spLocks/>
              </p:cNvSpPr>
              <p:nvPr/>
            </p:nvSpPr>
            <p:spPr bwMode="auto">
              <a:xfrm>
                <a:off x="2856" y="3726"/>
                <a:ext cx="221" cy="241"/>
              </a:xfrm>
              <a:custGeom>
                <a:avLst/>
                <a:gdLst>
                  <a:gd name="T0" fmla="*/ 175 w 188"/>
                  <a:gd name="T1" fmla="*/ 112 h 204"/>
                  <a:gd name="T2" fmla="*/ 172 w 188"/>
                  <a:gd name="T3" fmla="*/ 109 h 204"/>
                  <a:gd name="T4" fmla="*/ 163 w 188"/>
                  <a:gd name="T5" fmla="*/ 91 h 204"/>
                  <a:gd name="T6" fmla="*/ 155 w 188"/>
                  <a:gd name="T7" fmla="*/ 83 h 204"/>
                  <a:gd name="T8" fmla="*/ 154 w 188"/>
                  <a:gd name="T9" fmla="*/ 82 h 204"/>
                  <a:gd name="T10" fmla="*/ 148 w 188"/>
                  <a:gd name="T11" fmla="*/ 70 h 204"/>
                  <a:gd name="T12" fmla="*/ 144 w 188"/>
                  <a:gd name="T13" fmla="*/ 61 h 204"/>
                  <a:gd name="T14" fmla="*/ 127 w 188"/>
                  <a:gd name="T15" fmla="*/ 46 h 204"/>
                  <a:gd name="T16" fmla="*/ 104 w 188"/>
                  <a:gd name="T17" fmla="*/ 40 h 204"/>
                  <a:gd name="T18" fmla="*/ 101 w 188"/>
                  <a:gd name="T19" fmla="*/ 40 h 204"/>
                  <a:gd name="T20" fmla="*/ 82 w 188"/>
                  <a:gd name="T21" fmla="*/ 27 h 204"/>
                  <a:gd name="T22" fmla="*/ 60 w 188"/>
                  <a:gd name="T23" fmla="*/ 17 h 204"/>
                  <a:gd name="T24" fmla="*/ 58 w 188"/>
                  <a:gd name="T25" fmla="*/ 17 h 204"/>
                  <a:gd name="T26" fmla="*/ 47 w 188"/>
                  <a:gd name="T27" fmla="*/ 8 h 204"/>
                  <a:gd name="T28" fmla="*/ 41 w 188"/>
                  <a:gd name="T29" fmla="*/ 2 h 204"/>
                  <a:gd name="T30" fmla="*/ 36 w 188"/>
                  <a:gd name="T31" fmla="*/ 0 h 204"/>
                  <a:gd name="T32" fmla="*/ 25 w 188"/>
                  <a:gd name="T33" fmla="*/ 8 h 204"/>
                  <a:gd name="T34" fmla="*/ 26 w 188"/>
                  <a:gd name="T35" fmla="*/ 20 h 204"/>
                  <a:gd name="T36" fmla="*/ 31 w 188"/>
                  <a:gd name="T37" fmla="*/ 23 h 204"/>
                  <a:gd name="T38" fmla="*/ 44 w 188"/>
                  <a:gd name="T39" fmla="*/ 38 h 204"/>
                  <a:gd name="T40" fmla="*/ 45 w 188"/>
                  <a:gd name="T41" fmla="*/ 46 h 204"/>
                  <a:gd name="T42" fmla="*/ 35 w 188"/>
                  <a:gd name="T43" fmla="*/ 51 h 204"/>
                  <a:gd name="T44" fmla="*/ 30 w 188"/>
                  <a:gd name="T45" fmla="*/ 52 h 204"/>
                  <a:gd name="T46" fmla="*/ 24 w 188"/>
                  <a:gd name="T47" fmla="*/ 57 h 204"/>
                  <a:gd name="T48" fmla="*/ 11 w 188"/>
                  <a:gd name="T49" fmla="*/ 67 h 204"/>
                  <a:gd name="T50" fmla="*/ 1 w 188"/>
                  <a:gd name="T51" fmla="*/ 85 h 204"/>
                  <a:gd name="T52" fmla="*/ 15 w 188"/>
                  <a:gd name="T53" fmla="*/ 106 h 204"/>
                  <a:gd name="T54" fmla="*/ 23 w 188"/>
                  <a:gd name="T55" fmla="*/ 112 h 204"/>
                  <a:gd name="T56" fmla="*/ 37 w 188"/>
                  <a:gd name="T57" fmla="*/ 123 h 204"/>
                  <a:gd name="T58" fmla="*/ 36 w 188"/>
                  <a:gd name="T59" fmla="*/ 142 h 204"/>
                  <a:gd name="T60" fmla="*/ 35 w 188"/>
                  <a:gd name="T61" fmla="*/ 143 h 204"/>
                  <a:gd name="T62" fmla="*/ 33 w 188"/>
                  <a:gd name="T63" fmla="*/ 153 h 204"/>
                  <a:gd name="T64" fmla="*/ 33 w 188"/>
                  <a:gd name="T65" fmla="*/ 155 h 204"/>
                  <a:gd name="T66" fmla="*/ 28 w 188"/>
                  <a:gd name="T67" fmla="*/ 164 h 204"/>
                  <a:gd name="T68" fmla="*/ 24 w 188"/>
                  <a:gd name="T69" fmla="*/ 171 h 204"/>
                  <a:gd name="T70" fmla="*/ 23 w 188"/>
                  <a:gd name="T71" fmla="*/ 177 h 204"/>
                  <a:gd name="T72" fmla="*/ 24 w 188"/>
                  <a:gd name="T73" fmla="*/ 178 h 204"/>
                  <a:gd name="T74" fmla="*/ 34 w 188"/>
                  <a:gd name="T75" fmla="*/ 183 h 204"/>
                  <a:gd name="T76" fmla="*/ 42 w 188"/>
                  <a:gd name="T77" fmla="*/ 188 h 204"/>
                  <a:gd name="T78" fmla="*/ 52 w 188"/>
                  <a:gd name="T79" fmla="*/ 198 h 204"/>
                  <a:gd name="T80" fmla="*/ 53 w 188"/>
                  <a:gd name="T81" fmla="*/ 201 h 204"/>
                  <a:gd name="T82" fmla="*/ 69 w 188"/>
                  <a:gd name="T83" fmla="*/ 204 h 204"/>
                  <a:gd name="T84" fmla="*/ 71 w 188"/>
                  <a:gd name="T85" fmla="*/ 204 h 204"/>
                  <a:gd name="T86" fmla="*/ 77 w 188"/>
                  <a:gd name="T87" fmla="*/ 203 h 204"/>
                  <a:gd name="T88" fmla="*/ 65 w 188"/>
                  <a:gd name="T89" fmla="*/ 190 h 204"/>
                  <a:gd name="T90" fmla="*/ 65 w 188"/>
                  <a:gd name="T91" fmla="*/ 167 h 204"/>
                  <a:gd name="T92" fmla="*/ 65 w 188"/>
                  <a:gd name="T93" fmla="*/ 166 h 204"/>
                  <a:gd name="T94" fmla="*/ 77 w 188"/>
                  <a:gd name="T95" fmla="*/ 156 h 204"/>
                  <a:gd name="T96" fmla="*/ 87 w 188"/>
                  <a:gd name="T97" fmla="*/ 158 h 204"/>
                  <a:gd name="T98" fmla="*/ 98 w 188"/>
                  <a:gd name="T99" fmla="*/ 160 h 204"/>
                  <a:gd name="T100" fmla="*/ 112 w 188"/>
                  <a:gd name="T101" fmla="*/ 163 h 204"/>
                  <a:gd name="T102" fmla="*/ 113 w 188"/>
                  <a:gd name="T103" fmla="*/ 163 h 204"/>
                  <a:gd name="T104" fmla="*/ 128 w 188"/>
                  <a:gd name="T105" fmla="*/ 151 h 204"/>
                  <a:gd name="T106" fmla="*/ 131 w 188"/>
                  <a:gd name="T107" fmla="*/ 146 h 204"/>
                  <a:gd name="T108" fmla="*/ 161 w 188"/>
                  <a:gd name="T109" fmla="*/ 140 h 204"/>
                  <a:gd name="T110" fmla="*/ 168 w 188"/>
                  <a:gd name="T111" fmla="*/ 140 h 204"/>
                  <a:gd name="T112" fmla="*/ 188 w 188"/>
                  <a:gd name="T113" fmla="*/ 129 h 204"/>
                  <a:gd name="T114" fmla="*/ 183 w 188"/>
                  <a:gd name="T115" fmla="*/ 118 h 204"/>
                  <a:gd name="T116" fmla="*/ 175 w 188"/>
                  <a:gd name="T117" fmla="*/ 1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 h="204">
                    <a:moveTo>
                      <a:pt x="175" y="112"/>
                    </a:moveTo>
                    <a:cubicBezTo>
                      <a:pt x="174" y="111"/>
                      <a:pt x="172" y="110"/>
                      <a:pt x="172" y="109"/>
                    </a:cubicBezTo>
                    <a:cubicBezTo>
                      <a:pt x="166" y="108"/>
                      <a:pt x="163" y="97"/>
                      <a:pt x="163" y="91"/>
                    </a:cubicBezTo>
                    <a:cubicBezTo>
                      <a:pt x="163" y="87"/>
                      <a:pt x="158" y="85"/>
                      <a:pt x="155" y="83"/>
                    </a:cubicBezTo>
                    <a:cubicBezTo>
                      <a:pt x="155" y="82"/>
                      <a:pt x="154" y="82"/>
                      <a:pt x="154" y="82"/>
                    </a:cubicBezTo>
                    <a:cubicBezTo>
                      <a:pt x="150" y="80"/>
                      <a:pt x="149" y="75"/>
                      <a:pt x="148" y="70"/>
                    </a:cubicBezTo>
                    <a:cubicBezTo>
                      <a:pt x="147" y="68"/>
                      <a:pt x="146" y="64"/>
                      <a:pt x="144" y="61"/>
                    </a:cubicBezTo>
                    <a:cubicBezTo>
                      <a:pt x="141" y="54"/>
                      <a:pt x="133" y="49"/>
                      <a:pt x="127" y="46"/>
                    </a:cubicBezTo>
                    <a:cubicBezTo>
                      <a:pt x="120" y="42"/>
                      <a:pt x="110" y="39"/>
                      <a:pt x="104" y="40"/>
                    </a:cubicBezTo>
                    <a:cubicBezTo>
                      <a:pt x="103" y="40"/>
                      <a:pt x="102" y="40"/>
                      <a:pt x="101" y="40"/>
                    </a:cubicBezTo>
                    <a:cubicBezTo>
                      <a:pt x="86" y="40"/>
                      <a:pt x="83" y="32"/>
                      <a:pt x="82" y="27"/>
                    </a:cubicBezTo>
                    <a:cubicBezTo>
                      <a:pt x="82" y="26"/>
                      <a:pt x="80" y="22"/>
                      <a:pt x="60" y="17"/>
                    </a:cubicBezTo>
                    <a:cubicBezTo>
                      <a:pt x="58" y="17"/>
                      <a:pt x="58" y="17"/>
                      <a:pt x="58" y="17"/>
                    </a:cubicBezTo>
                    <a:cubicBezTo>
                      <a:pt x="54" y="16"/>
                      <a:pt x="51" y="12"/>
                      <a:pt x="47" y="8"/>
                    </a:cubicBezTo>
                    <a:cubicBezTo>
                      <a:pt x="45" y="5"/>
                      <a:pt x="42" y="3"/>
                      <a:pt x="41" y="2"/>
                    </a:cubicBezTo>
                    <a:cubicBezTo>
                      <a:pt x="39" y="1"/>
                      <a:pt x="37" y="0"/>
                      <a:pt x="36" y="0"/>
                    </a:cubicBezTo>
                    <a:cubicBezTo>
                      <a:pt x="35" y="5"/>
                      <a:pt x="29" y="7"/>
                      <a:pt x="25" y="8"/>
                    </a:cubicBezTo>
                    <a:cubicBezTo>
                      <a:pt x="25" y="11"/>
                      <a:pt x="25" y="18"/>
                      <a:pt x="26" y="20"/>
                    </a:cubicBezTo>
                    <a:cubicBezTo>
                      <a:pt x="27" y="20"/>
                      <a:pt x="29" y="22"/>
                      <a:pt x="31" y="23"/>
                    </a:cubicBezTo>
                    <a:cubicBezTo>
                      <a:pt x="35" y="27"/>
                      <a:pt x="41" y="31"/>
                      <a:pt x="44" y="38"/>
                    </a:cubicBezTo>
                    <a:cubicBezTo>
                      <a:pt x="46" y="41"/>
                      <a:pt x="46" y="44"/>
                      <a:pt x="45" y="46"/>
                    </a:cubicBezTo>
                    <a:cubicBezTo>
                      <a:pt x="43" y="49"/>
                      <a:pt x="38" y="50"/>
                      <a:pt x="35" y="51"/>
                    </a:cubicBezTo>
                    <a:cubicBezTo>
                      <a:pt x="33" y="51"/>
                      <a:pt x="31" y="51"/>
                      <a:pt x="30" y="52"/>
                    </a:cubicBezTo>
                    <a:cubicBezTo>
                      <a:pt x="28" y="53"/>
                      <a:pt x="26" y="55"/>
                      <a:pt x="24" y="57"/>
                    </a:cubicBezTo>
                    <a:cubicBezTo>
                      <a:pt x="20" y="61"/>
                      <a:pt x="16" y="66"/>
                      <a:pt x="11" y="67"/>
                    </a:cubicBezTo>
                    <a:cubicBezTo>
                      <a:pt x="7" y="69"/>
                      <a:pt x="1" y="80"/>
                      <a:pt x="1" y="85"/>
                    </a:cubicBezTo>
                    <a:cubicBezTo>
                      <a:pt x="0" y="89"/>
                      <a:pt x="8" y="101"/>
                      <a:pt x="15" y="106"/>
                    </a:cubicBezTo>
                    <a:cubicBezTo>
                      <a:pt x="17" y="108"/>
                      <a:pt x="20" y="110"/>
                      <a:pt x="23" y="112"/>
                    </a:cubicBezTo>
                    <a:cubicBezTo>
                      <a:pt x="28" y="115"/>
                      <a:pt x="33" y="118"/>
                      <a:pt x="37" y="123"/>
                    </a:cubicBezTo>
                    <a:cubicBezTo>
                      <a:pt x="46" y="133"/>
                      <a:pt x="39" y="140"/>
                      <a:pt x="36" y="142"/>
                    </a:cubicBezTo>
                    <a:cubicBezTo>
                      <a:pt x="36" y="143"/>
                      <a:pt x="35" y="143"/>
                      <a:pt x="35" y="143"/>
                    </a:cubicBezTo>
                    <a:cubicBezTo>
                      <a:pt x="33" y="145"/>
                      <a:pt x="33" y="150"/>
                      <a:pt x="33" y="153"/>
                    </a:cubicBezTo>
                    <a:cubicBezTo>
                      <a:pt x="33" y="154"/>
                      <a:pt x="33" y="154"/>
                      <a:pt x="33" y="155"/>
                    </a:cubicBezTo>
                    <a:cubicBezTo>
                      <a:pt x="32" y="158"/>
                      <a:pt x="30" y="161"/>
                      <a:pt x="28" y="164"/>
                    </a:cubicBezTo>
                    <a:cubicBezTo>
                      <a:pt x="26" y="166"/>
                      <a:pt x="25" y="169"/>
                      <a:pt x="24" y="171"/>
                    </a:cubicBezTo>
                    <a:cubicBezTo>
                      <a:pt x="22" y="174"/>
                      <a:pt x="23" y="176"/>
                      <a:pt x="23" y="177"/>
                    </a:cubicBezTo>
                    <a:cubicBezTo>
                      <a:pt x="24" y="178"/>
                      <a:pt x="24" y="178"/>
                      <a:pt x="24" y="178"/>
                    </a:cubicBezTo>
                    <a:cubicBezTo>
                      <a:pt x="28" y="178"/>
                      <a:pt x="31" y="180"/>
                      <a:pt x="34" y="183"/>
                    </a:cubicBezTo>
                    <a:cubicBezTo>
                      <a:pt x="37" y="184"/>
                      <a:pt x="39" y="187"/>
                      <a:pt x="42" y="188"/>
                    </a:cubicBezTo>
                    <a:cubicBezTo>
                      <a:pt x="50" y="191"/>
                      <a:pt x="51" y="195"/>
                      <a:pt x="52" y="198"/>
                    </a:cubicBezTo>
                    <a:cubicBezTo>
                      <a:pt x="52" y="199"/>
                      <a:pt x="52" y="200"/>
                      <a:pt x="53" y="201"/>
                    </a:cubicBezTo>
                    <a:cubicBezTo>
                      <a:pt x="53" y="202"/>
                      <a:pt x="59" y="203"/>
                      <a:pt x="69" y="204"/>
                    </a:cubicBezTo>
                    <a:cubicBezTo>
                      <a:pt x="70" y="204"/>
                      <a:pt x="71" y="204"/>
                      <a:pt x="71" y="204"/>
                    </a:cubicBezTo>
                    <a:cubicBezTo>
                      <a:pt x="76" y="204"/>
                      <a:pt x="77" y="203"/>
                      <a:pt x="77" y="203"/>
                    </a:cubicBezTo>
                    <a:cubicBezTo>
                      <a:pt x="77" y="201"/>
                      <a:pt x="69" y="192"/>
                      <a:pt x="65" y="190"/>
                    </a:cubicBezTo>
                    <a:cubicBezTo>
                      <a:pt x="60" y="186"/>
                      <a:pt x="60" y="179"/>
                      <a:pt x="65" y="167"/>
                    </a:cubicBezTo>
                    <a:cubicBezTo>
                      <a:pt x="65" y="166"/>
                      <a:pt x="65" y="166"/>
                      <a:pt x="65" y="166"/>
                    </a:cubicBezTo>
                    <a:cubicBezTo>
                      <a:pt x="68" y="161"/>
                      <a:pt x="70" y="156"/>
                      <a:pt x="77" y="156"/>
                    </a:cubicBezTo>
                    <a:cubicBezTo>
                      <a:pt x="80" y="156"/>
                      <a:pt x="83" y="157"/>
                      <a:pt x="87" y="158"/>
                    </a:cubicBezTo>
                    <a:cubicBezTo>
                      <a:pt x="92" y="159"/>
                      <a:pt x="95" y="160"/>
                      <a:pt x="98" y="160"/>
                    </a:cubicBezTo>
                    <a:cubicBezTo>
                      <a:pt x="103" y="162"/>
                      <a:pt x="105" y="162"/>
                      <a:pt x="112" y="163"/>
                    </a:cubicBezTo>
                    <a:cubicBezTo>
                      <a:pt x="113" y="163"/>
                      <a:pt x="113" y="163"/>
                      <a:pt x="113" y="163"/>
                    </a:cubicBezTo>
                    <a:cubicBezTo>
                      <a:pt x="120" y="163"/>
                      <a:pt x="124" y="157"/>
                      <a:pt x="128" y="151"/>
                    </a:cubicBezTo>
                    <a:cubicBezTo>
                      <a:pt x="129" y="149"/>
                      <a:pt x="130" y="147"/>
                      <a:pt x="131" y="146"/>
                    </a:cubicBezTo>
                    <a:cubicBezTo>
                      <a:pt x="136" y="139"/>
                      <a:pt x="147" y="137"/>
                      <a:pt x="161" y="140"/>
                    </a:cubicBezTo>
                    <a:cubicBezTo>
                      <a:pt x="163" y="140"/>
                      <a:pt x="166" y="140"/>
                      <a:pt x="168" y="140"/>
                    </a:cubicBezTo>
                    <a:cubicBezTo>
                      <a:pt x="185" y="140"/>
                      <a:pt x="188" y="132"/>
                      <a:pt x="188" y="129"/>
                    </a:cubicBezTo>
                    <a:cubicBezTo>
                      <a:pt x="188" y="126"/>
                      <a:pt x="185" y="119"/>
                      <a:pt x="183" y="118"/>
                    </a:cubicBezTo>
                    <a:cubicBezTo>
                      <a:pt x="180" y="117"/>
                      <a:pt x="177" y="115"/>
                      <a:pt x="175"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06">
                <a:extLst>
                  <a:ext uri="{FF2B5EF4-FFF2-40B4-BE49-F238E27FC236}">
                    <a16:creationId xmlns:a16="http://schemas.microsoft.com/office/drawing/2014/main" id="{FC0BA0FB-79B5-4E2D-9347-02F38E97A779}"/>
                  </a:ext>
                </a:extLst>
              </p:cNvPr>
              <p:cNvSpPr>
                <a:spLocks/>
              </p:cNvSpPr>
              <p:nvPr/>
            </p:nvSpPr>
            <p:spPr bwMode="auto">
              <a:xfrm>
                <a:off x="1180" y="808"/>
                <a:ext cx="854" cy="712"/>
              </a:xfrm>
              <a:custGeom>
                <a:avLst/>
                <a:gdLst>
                  <a:gd name="T0" fmla="*/ 331 w 726"/>
                  <a:gd name="T1" fmla="*/ 560 h 605"/>
                  <a:gd name="T2" fmla="*/ 462 w 726"/>
                  <a:gd name="T3" fmla="*/ 580 h 605"/>
                  <a:gd name="T4" fmla="*/ 586 w 726"/>
                  <a:gd name="T5" fmla="*/ 605 h 605"/>
                  <a:gd name="T6" fmla="*/ 585 w 726"/>
                  <a:gd name="T7" fmla="*/ 581 h 605"/>
                  <a:gd name="T8" fmla="*/ 592 w 726"/>
                  <a:gd name="T9" fmla="*/ 542 h 605"/>
                  <a:gd name="T10" fmla="*/ 605 w 726"/>
                  <a:gd name="T11" fmla="*/ 468 h 605"/>
                  <a:gd name="T12" fmla="*/ 622 w 726"/>
                  <a:gd name="T13" fmla="*/ 422 h 605"/>
                  <a:gd name="T14" fmla="*/ 645 w 726"/>
                  <a:gd name="T15" fmla="*/ 362 h 605"/>
                  <a:gd name="T16" fmla="*/ 673 w 726"/>
                  <a:gd name="T17" fmla="*/ 274 h 605"/>
                  <a:gd name="T18" fmla="*/ 718 w 726"/>
                  <a:gd name="T19" fmla="*/ 177 h 605"/>
                  <a:gd name="T20" fmla="*/ 709 w 726"/>
                  <a:gd name="T21" fmla="*/ 169 h 605"/>
                  <a:gd name="T22" fmla="*/ 698 w 726"/>
                  <a:gd name="T23" fmla="*/ 141 h 605"/>
                  <a:gd name="T24" fmla="*/ 652 w 726"/>
                  <a:gd name="T25" fmla="*/ 131 h 605"/>
                  <a:gd name="T26" fmla="*/ 585 w 726"/>
                  <a:gd name="T27" fmla="*/ 117 h 605"/>
                  <a:gd name="T28" fmla="*/ 507 w 726"/>
                  <a:gd name="T29" fmla="*/ 110 h 605"/>
                  <a:gd name="T30" fmla="*/ 398 w 726"/>
                  <a:gd name="T31" fmla="*/ 101 h 605"/>
                  <a:gd name="T32" fmla="*/ 291 w 726"/>
                  <a:gd name="T33" fmla="*/ 85 h 605"/>
                  <a:gd name="T34" fmla="*/ 250 w 726"/>
                  <a:gd name="T35" fmla="*/ 79 h 605"/>
                  <a:gd name="T36" fmla="*/ 225 w 726"/>
                  <a:gd name="T37" fmla="*/ 43 h 605"/>
                  <a:gd name="T38" fmla="*/ 210 w 726"/>
                  <a:gd name="T39" fmla="*/ 18 h 605"/>
                  <a:gd name="T40" fmla="*/ 145 w 726"/>
                  <a:gd name="T41" fmla="*/ 5 h 605"/>
                  <a:gd name="T42" fmla="*/ 143 w 726"/>
                  <a:gd name="T43" fmla="*/ 24 h 605"/>
                  <a:gd name="T44" fmla="*/ 71 w 726"/>
                  <a:gd name="T45" fmla="*/ 222 h 605"/>
                  <a:gd name="T46" fmla="*/ 47 w 726"/>
                  <a:gd name="T47" fmla="*/ 257 h 605"/>
                  <a:gd name="T48" fmla="*/ 17 w 726"/>
                  <a:gd name="T49" fmla="*/ 301 h 605"/>
                  <a:gd name="T50" fmla="*/ 8 w 726"/>
                  <a:gd name="T51" fmla="*/ 398 h 605"/>
                  <a:gd name="T52" fmla="*/ 0 w 726"/>
                  <a:gd name="T53" fmla="*/ 483 h 605"/>
                  <a:gd name="T54" fmla="*/ 129 w 726"/>
                  <a:gd name="T55" fmla="*/ 515 h 605"/>
                  <a:gd name="T56" fmla="*/ 331 w 726"/>
                  <a:gd name="T57" fmla="*/ 56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6" h="605">
                    <a:moveTo>
                      <a:pt x="331" y="560"/>
                    </a:moveTo>
                    <a:cubicBezTo>
                      <a:pt x="397" y="572"/>
                      <a:pt x="444" y="580"/>
                      <a:pt x="462" y="580"/>
                    </a:cubicBezTo>
                    <a:cubicBezTo>
                      <a:pt x="497" y="582"/>
                      <a:pt x="556" y="597"/>
                      <a:pt x="586" y="605"/>
                    </a:cubicBezTo>
                    <a:cubicBezTo>
                      <a:pt x="583" y="599"/>
                      <a:pt x="584" y="591"/>
                      <a:pt x="585" y="581"/>
                    </a:cubicBezTo>
                    <a:cubicBezTo>
                      <a:pt x="586" y="574"/>
                      <a:pt x="589" y="559"/>
                      <a:pt x="592" y="542"/>
                    </a:cubicBezTo>
                    <a:cubicBezTo>
                      <a:pt x="597" y="514"/>
                      <a:pt x="604" y="480"/>
                      <a:pt x="605" y="468"/>
                    </a:cubicBezTo>
                    <a:cubicBezTo>
                      <a:pt x="606" y="448"/>
                      <a:pt x="610" y="436"/>
                      <a:pt x="622" y="422"/>
                    </a:cubicBezTo>
                    <a:cubicBezTo>
                      <a:pt x="631" y="411"/>
                      <a:pt x="646" y="388"/>
                      <a:pt x="645" y="362"/>
                    </a:cubicBezTo>
                    <a:cubicBezTo>
                      <a:pt x="644" y="332"/>
                      <a:pt x="653" y="303"/>
                      <a:pt x="673" y="274"/>
                    </a:cubicBezTo>
                    <a:cubicBezTo>
                      <a:pt x="708" y="225"/>
                      <a:pt x="726" y="185"/>
                      <a:pt x="718" y="177"/>
                    </a:cubicBezTo>
                    <a:cubicBezTo>
                      <a:pt x="715" y="174"/>
                      <a:pt x="712" y="171"/>
                      <a:pt x="709" y="169"/>
                    </a:cubicBezTo>
                    <a:cubicBezTo>
                      <a:pt x="701" y="162"/>
                      <a:pt x="694" y="157"/>
                      <a:pt x="698" y="141"/>
                    </a:cubicBezTo>
                    <a:cubicBezTo>
                      <a:pt x="690" y="140"/>
                      <a:pt x="676" y="137"/>
                      <a:pt x="652" y="131"/>
                    </a:cubicBezTo>
                    <a:cubicBezTo>
                      <a:pt x="629" y="125"/>
                      <a:pt x="604" y="119"/>
                      <a:pt x="585" y="117"/>
                    </a:cubicBezTo>
                    <a:cubicBezTo>
                      <a:pt x="567" y="114"/>
                      <a:pt x="540" y="112"/>
                      <a:pt x="507" y="110"/>
                    </a:cubicBezTo>
                    <a:cubicBezTo>
                      <a:pt x="472" y="108"/>
                      <a:pt x="432" y="105"/>
                      <a:pt x="398" y="101"/>
                    </a:cubicBezTo>
                    <a:cubicBezTo>
                      <a:pt x="360" y="97"/>
                      <a:pt x="320" y="90"/>
                      <a:pt x="291" y="85"/>
                    </a:cubicBezTo>
                    <a:cubicBezTo>
                      <a:pt x="271" y="82"/>
                      <a:pt x="255" y="79"/>
                      <a:pt x="250" y="79"/>
                    </a:cubicBezTo>
                    <a:cubicBezTo>
                      <a:pt x="241" y="79"/>
                      <a:pt x="226" y="74"/>
                      <a:pt x="225" y="43"/>
                    </a:cubicBezTo>
                    <a:cubicBezTo>
                      <a:pt x="225" y="35"/>
                      <a:pt x="219" y="25"/>
                      <a:pt x="210" y="18"/>
                    </a:cubicBezTo>
                    <a:cubicBezTo>
                      <a:pt x="193" y="5"/>
                      <a:pt x="170" y="0"/>
                      <a:pt x="145" y="5"/>
                    </a:cubicBezTo>
                    <a:cubicBezTo>
                      <a:pt x="145" y="10"/>
                      <a:pt x="145" y="17"/>
                      <a:pt x="143" y="24"/>
                    </a:cubicBezTo>
                    <a:cubicBezTo>
                      <a:pt x="139" y="44"/>
                      <a:pt x="79" y="208"/>
                      <a:pt x="71" y="222"/>
                    </a:cubicBezTo>
                    <a:cubicBezTo>
                      <a:pt x="67" y="230"/>
                      <a:pt x="57" y="243"/>
                      <a:pt x="47" y="257"/>
                    </a:cubicBezTo>
                    <a:cubicBezTo>
                      <a:pt x="34" y="273"/>
                      <a:pt x="20" y="292"/>
                      <a:pt x="17" y="301"/>
                    </a:cubicBezTo>
                    <a:cubicBezTo>
                      <a:pt x="10" y="317"/>
                      <a:pt x="5" y="382"/>
                      <a:pt x="8" y="398"/>
                    </a:cubicBezTo>
                    <a:cubicBezTo>
                      <a:pt x="16" y="443"/>
                      <a:pt x="6" y="471"/>
                      <a:pt x="0" y="483"/>
                    </a:cubicBezTo>
                    <a:cubicBezTo>
                      <a:pt x="28" y="484"/>
                      <a:pt x="96" y="504"/>
                      <a:pt x="129" y="515"/>
                    </a:cubicBezTo>
                    <a:cubicBezTo>
                      <a:pt x="149" y="522"/>
                      <a:pt x="241" y="542"/>
                      <a:pt x="331" y="56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09">
                <a:extLst>
                  <a:ext uri="{FF2B5EF4-FFF2-40B4-BE49-F238E27FC236}">
                    <a16:creationId xmlns:a16="http://schemas.microsoft.com/office/drawing/2014/main" id="{C5AB1A88-A816-4108-A06F-46E2053B39A3}"/>
                  </a:ext>
                </a:extLst>
              </p:cNvPr>
              <p:cNvSpPr>
                <a:spLocks/>
              </p:cNvSpPr>
              <p:nvPr/>
            </p:nvSpPr>
            <p:spPr bwMode="auto">
              <a:xfrm>
                <a:off x="1346" y="421"/>
                <a:ext cx="750" cy="535"/>
              </a:xfrm>
              <a:custGeom>
                <a:avLst/>
                <a:gdLst>
                  <a:gd name="T0" fmla="*/ 88 w 638"/>
                  <a:gd name="T1" fmla="*/ 364 h 455"/>
                  <a:gd name="T2" fmla="*/ 147 w 638"/>
                  <a:gd name="T3" fmla="*/ 399 h 455"/>
                  <a:gd name="T4" fmla="*/ 363 w 638"/>
                  <a:gd name="T5" fmla="*/ 424 h 455"/>
                  <a:gd name="T6" fmla="*/ 509 w 638"/>
                  <a:gd name="T7" fmla="*/ 445 h 455"/>
                  <a:gd name="T8" fmla="*/ 638 w 638"/>
                  <a:gd name="T9" fmla="*/ 141 h 455"/>
                  <a:gd name="T10" fmla="*/ 223 w 638"/>
                  <a:gd name="T11" fmla="*/ 26 h 455"/>
                  <a:gd name="T12" fmla="*/ 222 w 638"/>
                  <a:gd name="T13" fmla="*/ 30 h 455"/>
                  <a:gd name="T14" fmla="*/ 231 w 638"/>
                  <a:gd name="T15" fmla="*/ 57 h 455"/>
                  <a:gd name="T16" fmla="*/ 231 w 638"/>
                  <a:gd name="T17" fmla="*/ 109 h 455"/>
                  <a:gd name="T18" fmla="*/ 221 w 638"/>
                  <a:gd name="T19" fmla="*/ 134 h 455"/>
                  <a:gd name="T20" fmla="*/ 238 w 638"/>
                  <a:gd name="T21" fmla="*/ 133 h 455"/>
                  <a:gd name="T22" fmla="*/ 223 w 638"/>
                  <a:gd name="T23" fmla="*/ 170 h 455"/>
                  <a:gd name="T24" fmla="*/ 211 w 638"/>
                  <a:gd name="T25" fmla="*/ 147 h 455"/>
                  <a:gd name="T26" fmla="*/ 181 w 638"/>
                  <a:gd name="T27" fmla="*/ 181 h 455"/>
                  <a:gd name="T28" fmla="*/ 174 w 638"/>
                  <a:gd name="T29" fmla="*/ 187 h 455"/>
                  <a:gd name="T30" fmla="*/ 149 w 638"/>
                  <a:gd name="T31" fmla="*/ 203 h 455"/>
                  <a:gd name="T32" fmla="*/ 146 w 638"/>
                  <a:gd name="T33" fmla="*/ 207 h 455"/>
                  <a:gd name="T34" fmla="*/ 132 w 638"/>
                  <a:gd name="T35" fmla="*/ 228 h 455"/>
                  <a:gd name="T36" fmla="*/ 105 w 638"/>
                  <a:gd name="T37" fmla="*/ 210 h 455"/>
                  <a:gd name="T38" fmla="*/ 172 w 638"/>
                  <a:gd name="T39" fmla="*/ 139 h 455"/>
                  <a:gd name="T40" fmla="*/ 161 w 638"/>
                  <a:gd name="T41" fmla="*/ 138 h 455"/>
                  <a:gd name="T42" fmla="*/ 139 w 638"/>
                  <a:gd name="T43" fmla="*/ 130 h 455"/>
                  <a:gd name="T44" fmla="*/ 155 w 638"/>
                  <a:gd name="T45" fmla="*/ 112 h 455"/>
                  <a:gd name="T46" fmla="*/ 142 w 638"/>
                  <a:gd name="T47" fmla="*/ 105 h 455"/>
                  <a:gd name="T48" fmla="*/ 169 w 638"/>
                  <a:gd name="T49" fmla="*/ 87 h 455"/>
                  <a:gd name="T50" fmla="*/ 177 w 638"/>
                  <a:gd name="T51" fmla="*/ 85 h 455"/>
                  <a:gd name="T52" fmla="*/ 160 w 638"/>
                  <a:gd name="T53" fmla="*/ 64 h 455"/>
                  <a:gd name="T54" fmla="*/ 145 w 638"/>
                  <a:gd name="T55" fmla="*/ 63 h 455"/>
                  <a:gd name="T56" fmla="*/ 108 w 638"/>
                  <a:gd name="T57" fmla="*/ 54 h 455"/>
                  <a:gd name="T58" fmla="*/ 51 w 638"/>
                  <a:gd name="T59" fmla="*/ 4 h 455"/>
                  <a:gd name="T60" fmla="*/ 35 w 638"/>
                  <a:gd name="T61" fmla="*/ 1 h 455"/>
                  <a:gd name="T62" fmla="*/ 23 w 638"/>
                  <a:gd name="T63" fmla="*/ 15 h 455"/>
                  <a:gd name="T64" fmla="*/ 23 w 638"/>
                  <a:gd name="T65" fmla="*/ 65 h 455"/>
                  <a:gd name="T66" fmla="*/ 17 w 638"/>
                  <a:gd name="T67" fmla="*/ 90 h 455"/>
                  <a:gd name="T68" fmla="*/ 25 w 638"/>
                  <a:gd name="T69" fmla="*/ 130 h 455"/>
                  <a:gd name="T70" fmla="*/ 59 w 638"/>
                  <a:gd name="T71" fmla="*/ 160 h 455"/>
                  <a:gd name="T72" fmla="*/ 38 w 638"/>
                  <a:gd name="T73" fmla="*/ 180 h 455"/>
                  <a:gd name="T74" fmla="*/ 11 w 638"/>
                  <a:gd name="T75" fmla="*/ 237 h 455"/>
                  <a:gd name="T76" fmla="*/ 26 w 638"/>
                  <a:gd name="T77" fmla="*/ 290 h 455"/>
                  <a:gd name="T78" fmla="*/ 0 w 638"/>
                  <a:gd name="T79" fmla="*/ 310 h 455"/>
                  <a:gd name="T80" fmla="*/ 70 w 638"/>
                  <a:gd name="T81" fmla="*/ 333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8" h="455">
                    <a:moveTo>
                      <a:pt x="70" y="333"/>
                    </a:moveTo>
                    <a:cubicBezTo>
                      <a:pt x="81" y="342"/>
                      <a:pt x="88" y="354"/>
                      <a:pt x="88" y="364"/>
                    </a:cubicBezTo>
                    <a:cubicBezTo>
                      <a:pt x="89" y="377"/>
                      <a:pt x="92" y="393"/>
                      <a:pt x="105" y="393"/>
                    </a:cubicBezTo>
                    <a:cubicBezTo>
                      <a:pt x="111" y="393"/>
                      <a:pt x="125" y="395"/>
                      <a:pt x="147" y="399"/>
                    </a:cubicBezTo>
                    <a:cubicBezTo>
                      <a:pt x="177" y="404"/>
                      <a:pt x="216" y="411"/>
                      <a:pt x="253" y="415"/>
                    </a:cubicBezTo>
                    <a:cubicBezTo>
                      <a:pt x="287" y="419"/>
                      <a:pt x="327" y="422"/>
                      <a:pt x="363" y="424"/>
                    </a:cubicBezTo>
                    <a:cubicBezTo>
                      <a:pt x="395" y="427"/>
                      <a:pt x="423" y="428"/>
                      <a:pt x="441" y="431"/>
                    </a:cubicBezTo>
                    <a:cubicBezTo>
                      <a:pt x="460" y="433"/>
                      <a:pt x="486" y="439"/>
                      <a:pt x="509" y="445"/>
                    </a:cubicBezTo>
                    <a:cubicBezTo>
                      <a:pt x="528" y="450"/>
                      <a:pt x="551" y="455"/>
                      <a:pt x="556" y="455"/>
                    </a:cubicBezTo>
                    <a:cubicBezTo>
                      <a:pt x="565" y="439"/>
                      <a:pt x="609" y="262"/>
                      <a:pt x="638" y="141"/>
                    </a:cubicBezTo>
                    <a:cubicBezTo>
                      <a:pt x="507" y="109"/>
                      <a:pt x="284" y="48"/>
                      <a:pt x="254" y="36"/>
                    </a:cubicBezTo>
                    <a:cubicBezTo>
                      <a:pt x="239" y="30"/>
                      <a:pt x="228" y="26"/>
                      <a:pt x="223" y="26"/>
                    </a:cubicBezTo>
                    <a:cubicBezTo>
                      <a:pt x="222" y="26"/>
                      <a:pt x="222" y="27"/>
                      <a:pt x="222" y="27"/>
                    </a:cubicBezTo>
                    <a:cubicBezTo>
                      <a:pt x="221" y="27"/>
                      <a:pt x="222" y="29"/>
                      <a:pt x="222" y="30"/>
                    </a:cubicBezTo>
                    <a:cubicBezTo>
                      <a:pt x="222" y="30"/>
                      <a:pt x="222" y="30"/>
                      <a:pt x="222" y="30"/>
                    </a:cubicBezTo>
                    <a:cubicBezTo>
                      <a:pt x="222" y="37"/>
                      <a:pt x="228" y="55"/>
                      <a:pt x="231" y="57"/>
                    </a:cubicBezTo>
                    <a:cubicBezTo>
                      <a:pt x="236" y="61"/>
                      <a:pt x="239" y="69"/>
                      <a:pt x="240" y="83"/>
                    </a:cubicBezTo>
                    <a:cubicBezTo>
                      <a:pt x="241" y="94"/>
                      <a:pt x="238" y="105"/>
                      <a:pt x="231" y="109"/>
                    </a:cubicBezTo>
                    <a:cubicBezTo>
                      <a:pt x="222" y="114"/>
                      <a:pt x="220" y="126"/>
                      <a:pt x="220" y="130"/>
                    </a:cubicBezTo>
                    <a:cubicBezTo>
                      <a:pt x="221" y="131"/>
                      <a:pt x="221" y="133"/>
                      <a:pt x="221" y="134"/>
                    </a:cubicBezTo>
                    <a:cubicBezTo>
                      <a:pt x="222" y="134"/>
                      <a:pt x="223" y="133"/>
                      <a:pt x="224" y="132"/>
                    </a:cubicBezTo>
                    <a:cubicBezTo>
                      <a:pt x="229" y="129"/>
                      <a:pt x="234" y="129"/>
                      <a:pt x="238" y="133"/>
                    </a:cubicBezTo>
                    <a:cubicBezTo>
                      <a:pt x="242" y="137"/>
                      <a:pt x="243" y="144"/>
                      <a:pt x="243" y="151"/>
                    </a:cubicBezTo>
                    <a:cubicBezTo>
                      <a:pt x="242" y="164"/>
                      <a:pt x="235" y="170"/>
                      <a:pt x="223" y="170"/>
                    </a:cubicBezTo>
                    <a:cubicBezTo>
                      <a:pt x="220" y="170"/>
                      <a:pt x="217" y="169"/>
                      <a:pt x="215" y="167"/>
                    </a:cubicBezTo>
                    <a:cubicBezTo>
                      <a:pt x="211" y="163"/>
                      <a:pt x="211" y="154"/>
                      <a:pt x="211" y="147"/>
                    </a:cubicBezTo>
                    <a:cubicBezTo>
                      <a:pt x="208" y="151"/>
                      <a:pt x="203" y="159"/>
                      <a:pt x="199" y="168"/>
                    </a:cubicBezTo>
                    <a:cubicBezTo>
                      <a:pt x="194" y="178"/>
                      <a:pt x="187" y="179"/>
                      <a:pt x="181" y="181"/>
                    </a:cubicBezTo>
                    <a:cubicBezTo>
                      <a:pt x="180" y="181"/>
                      <a:pt x="179" y="181"/>
                      <a:pt x="178" y="182"/>
                    </a:cubicBezTo>
                    <a:cubicBezTo>
                      <a:pt x="174" y="183"/>
                      <a:pt x="174" y="183"/>
                      <a:pt x="174" y="187"/>
                    </a:cubicBezTo>
                    <a:cubicBezTo>
                      <a:pt x="174" y="189"/>
                      <a:pt x="174" y="192"/>
                      <a:pt x="171" y="194"/>
                    </a:cubicBezTo>
                    <a:cubicBezTo>
                      <a:pt x="166" y="200"/>
                      <a:pt x="156" y="202"/>
                      <a:pt x="149" y="203"/>
                    </a:cubicBezTo>
                    <a:cubicBezTo>
                      <a:pt x="147" y="203"/>
                      <a:pt x="146" y="203"/>
                      <a:pt x="146" y="203"/>
                    </a:cubicBezTo>
                    <a:cubicBezTo>
                      <a:pt x="146" y="204"/>
                      <a:pt x="146" y="206"/>
                      <a:pt x="146" y="207"/>
                    </a:cubicBezTo>
                    <a:cubicBezTo>
                      <a:pt x="146" y="209"/>
                      <a:pt x="147" y="211"/>
                      <a:pt x="146" y="213"/>
                    </a:cubicBezTo>
                    <a:cubicBezTo>
                      <a:pt x="146" y="220"/>
                      <a:pt x="140" y="228"/>
                      <a:pt x="132" y="228"/>
                    </a:cubicBezTo>
                    <a:cubicBezTo>
                      <a:pt x="131" y="228"/>
                      <a:pt x="130" y="228"/>
                      <a:pt x="129" y="228"/>
                    </a:cubicBezTo>
                    <a:cubicBezTo>
                      <a:pt x="114" y="225"/>
                      <a:pt x="106" y="219"/>
                      <a:pt x="105" y="210"/>
                    </a:cubicBezTo>
                    <a:cubicBezTo>
                      <a:pt x="104" y="200"/>
                      <a:pt x="116" y="190"/>
                      <a:pt x="121" y="188"/>
                    </a:cubicBezTo>
                    <a:cubicBezTo>
                      <a:pt x="143" y="180"/>
                      <a:pt x="161" y="163"/>
                      <a:pt x="172" y="139"/>
                    </a:cubicBezTo>
                    <a:cubicBezTo>
                      <a:pt x="172" y="138"/>
                      <a:pt x="172" y="138"/>
                      <a:pt x="172" y="138"/>
                    </a:cubicBezTo>
                    <a:cubicBezTo>
                      <a:pt x="171" y="137"/>
                      <a:pt x="165" y="138"/>
                      <a:pt x="161" y="138"/>
                    </a:cubicBezTo>
                    <a:cubicBezTo>
                      <a:pt x="155" y="139"/>
                      <a:pt x="148" y="139"/>
                      <a:pt x="145" y="138"/>
                    </a:cubicBezTo>
                    <a:cubicBezTo>
                      <a:pt x="141" y="137"/>
                      <a:pt x="139" y="134"/>
                      <a:pt x="139" y="130"/>
                    </a:cubicBezTo>
                    <a:cubicBezTo>
                      <a:pt x="138" y="124"/>
                      <a:pt x="146" y="117"/>
                      <a:pt x="153" y="113"/>
                    </a:cubicBezTo>
                    <a:cubicBezTo>
                      <a:pt x="154" y="113"/>
                      <a:pt x="154" y="112"/>
                      <a:pt x="155" y="112"/>
                    </a:cubicBezTo>
                    <a:cubicBezTo>
                      <a:pt x="154" y="111"/>
                      <a:pt x="153" y="111"/>
                      <a:pt x="151" y="111"/>
                    </a:cubicBezTo>
                    <a:cubicBezTo>
                      <a:pt x="144" y="110"/>
                      <a:pt x="143" y="106"/>
                      <a:pt x="142" y="105"/>
                    </a:cubicBezTo>
                    <a:cubicBezTo>
                      <a:pt x="141" y="100"/>
                      <a:pt x="144" y="95"/>
                      <a:pt x="150" y="92"/>
                    </a:cubicBezTo>
                    <a:cubicBezTo>
                      <a:pt x="156" y="88"/>
                      <a:pt x="162" y="88"/>
                      <a:pt x="169" y="87"/>
                    </a:cubicBezTo>
                    <a:cubicBezTo>
                      <a:pt x="171" y="87"/>
                      <a:pt x="172" y="87"/>
                      <a:pt x="174" y="87"/>
                    </a:cubicBezTo>
                    <a:cubicBezTo>
                      <a:pt x="175" y="87"/>
                      <a:pt x="176" y="86"/>
                      <a:pt x="177" y="85"/>
                    </a:cubicBezTo>
                    <a:cubicBezTo>
                      <a:pt x="180" y="82"/>
                      <a:pt x="181" y="75"/>
                      <a:pt x="180" y="67"/>
                    </a:cubicBezTo>
                    <a:cubicBezTo>
                      <a:pt x="180" y="66"/>
                      <a:pt x="178" y="64"/>
                      <a:pt x="160" y="64"/>
                    </a:cubicBezTo>
                    <a:cubicBezTo>
                      <a:pt x="154" y="64"/>
                      <a:pt x="154" y="64"/>
                      <a:pt x="154" y="64"/>
                    </a:cubicBezTo>
                    <a:cubicBezTo>
                      <a:pt x="150" y="64"/>
                      <a:pt x="147" y="64"/>
                      <a:pt x="145" y="63"/>
                    </a:cubicBezTo>
                    <a:cubicBezTo>
                      <a:pt x="141" y="63"/>
                      <a:pt x="137" y="61"/>
                      <a:pt x="132" y="60"/>
                    </a:cubicBezTo>
                    <a:cubicBezTo>
                      <a:pt x="124" y="58"/>
                      <a:pt x="115" y="55"/>
                      <a:pt x="108" y="54"/>
                    </a:cubicBezTo>
                    <a:cubicBezTo>
                      <a:pt x="98" y="53"/>
                      <a:pt x="79" y="33"/>
                      <a:pt x="59" y="12"/>
                    </a:cubicBezTo>
                    <a:cubicBezTo>
                      <a:pt x="55" y="8"/>
                      <a:pt x="52" y="5"/>
                      <a:pt x="51" y="4"/>
                    </a:cubicBezTo>
                    <a:cubicBezTo>
                      <a:pt x="48" y="1"/>
                      <a:pt x="44" y="0"/>
                      <a:pt x="40" y="0"/>
                    </a:cubicBezTo>
                    <a:cubicBezTo>
                      <a:pt x="37" y="0"/>
                      <a:pt x="35" y="1"/>
                      <a:pt x="35" y="1"/>
                    </a:cubicBezTo>
                    <a:cubicBezTo>
                      <a:pt x="33" y="3"/>
                      <a:pt x="32" y="5"/>
                      <a:pt x="30" y="7"/>
                    </a:cubicBezTo>
                    <a:cubicBezTo>
                      <a:pt x="27" y="9"/>
                      <a:pt x="25" y="12"/>
                      <a:pt x="23" y="15"/>
                    </a:cubicBezTo>
                    <a:cubicBezTo>
                      <a:pt x="22" y="17"/>
                      <a:pt x="22" y="28"/>
                      <a:pt x="23" y="36"/>
                    </a:cubicBezTo>
                    <a:cubicBezTo>
                      <a:pt x="24" y="46"/>
                      <a:pt x="24" y="57"/>
                      <a:pt x="23" y="65"/>
                    </a:cubicBezTo>
                    <a:cubicBezTo>
                      <a:pt x="22" y="81"/>
                      <a:pt x="20" y="85"/>
                      <a:pt x="18" y="89"/>
                    </a:cubicBezTo>
                    <a:cubicBezTo>
                      <a:pt x="18" y="89"/>
                      <a:pt x="18" y="90"/>
                      <a:pt x="17" y="90"/>
                    </a:cubicBezTo>
                    <a:cubicBezTo>
                      <a:pt x="16" y="94"/>
                      <a:pt x="16" y="105"/>
                      <a:pt x="18" y="106"/>
                    </a:cubicBezTo>
                    <a:cubicBezTo>
                      <a:pt x="23" y="110"/>
                      <a:pt x="24" y="119"/>
                      <a:pt x="25" y="130"/>
                    </a:cubicBezTo>
                    <a:cubicBezTo>
                      <a:pt x="25" y="133"/>
                      <a:pt x="25" y="136"/>
                      <a:pt x="26" y="140"/>
                    </a:cubicBezTo>
                    <a:cubicBezTo>
                      <a:pt x="27" y="150"/>
                      <a:pt x="37" y="156"/>
                      <a:pt x="59" y="160"/>
                    </a:cubicBezTo>
                    <a:cubicBezTo>
                      <a:pt x="63" y="161"/>
                      <a:pt x="70" y="162"/>
                      <a:pt x="70" y="168"/>
                    </a:cubicBezTo>
                    <a:cubicBezTo>
                      <a:pt x="70" y="173"/>
                      <a:pt x="65" y="175"/>
                      <a:pt x="38" y="180"/>
                    </a:cubicBezTo>
                    <a:cubicBezTo>
                      <a:pt x="27" y="182"/>
                      <a:pt x="17" y="216"/>
                      <a:pt x="11" y="235"/>
                    </a:cubicBezTo>
                    <a:cubicBezTo>
                      <a:pt x="11" y="237"/>
                      <a:pt x="11" y="237"/>
                      <a:pt x="11" y="237"/>
                    </a:cubicBezTo>
                    <a:cubicBezTo>
                      <a:pt x="6" y="250"/>
                      <a:pt x="15" y="266"/>
                      <a:pt x="21" y="277"/>
                    </a:cubicBezTo>
                    <a:cubicBezTo>
                      <a:pt x="24" y="283"/>
                      <a:pt x="26" y="287"/>
                      <a:pt x="26" y="290"/>
                    </a:cubicBezTo>
                    <a:cubicBezTo>
                      <a:pt x="27" y="305"/>
                      <a:pt x="13" y="307"/>
                      <a:pt x="6" y="309"/>
                    </a:cubicBezTo>
                    <a:cubicBezTo>
                      <a:pt x="4" y="309"/>
                      <a:pt x="1" y="309"/>
                      <a:pt x="0" y="310"/>
                    </a:cubicBezTo>
                    <a:cubicBezTo>
                      <a:pt x="0" y="311"/>
                      <a:pt x="0" y="315"/>
                      <a:pt x="0" y="319"/>
                    </a:cubicBezTo>
                    <a:cubicBezTo>
                      <a:pt x="27" y="314"/>
                      <a:pt x="52" y="319"/>
                      <a:pt x="70" y="3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99">
              <a:extLst>
                <a:ext uri="{FF2B5EF4-FFF2-40B4-BE49-F238E27FC236}">
                  <a16:creationId xmlns:a16="http://schemas.microsoft.com/office/drawing/2014/main" id="{3E3F04FD-9015-4C3E-9F1E-AC9141182AE4}"/>
                </a:ext>
              </a:extLst>
            </p:cNvPr>
            <p:cNvSpPr>
              <a:spLocks/>
            </p:cNvSpPr>
            <p:nvPr/>
          </p:nvSpPr>
          <p:spPr bwMode="auto">
            <a:xfrm>
              <a:off x="8541134" y="3992707"/>
              <a:ext cx="861712" cy="905364"/>
            </a:xfrm>
            <a:custGeom>
              <a:avLst/>
              <a:gdLst>
                <a:gd name="T0" fmla="*/ 737 w 745"/>
                <a:gd name="T1" fmla="*/ 281 h 638"/>
                <a:gd name="T2" fmla="*/ 687 w 745"/>
                <a:gd name="T3" fmla="*/ 240 h 638"/>
                <a:gd name="T4" fmla="*/ 671 w 745"/>
                <a:gd name="T5" fmla="*/ 216 h 638"/>
                <a:gd name="T6" fmla="*/ 612 w 745"/>
                <a:gd name="T7" fmla="*/ 152 h 638"/>
                <a:gd name="T8" fmla="*/ 561 w 745"/>
                <a:gd name="T9" fmla="*/ 111 h 638"/>
                <a:gd name="T10" fmla="*/ 473 w 745"/>
                <a:gd name="T11" fmla="*/ 49 h 638"/>
                <a:gd name="T12" fmla="*/ 453 w 745"/>
                <a:gd name="T13" fmla="*/ 0 h 638"/>
                <a:gd name="T14" fmla="*/ 352 w 745"/>
                <a:gd name="T15" fmla="*/ 17 h 638"/>
                <a:gd name="T16" fmla="*/ 348 w 745"/>
                <a:gd name="T17" fmla="*/ 17 h 638"/>
                <a:gd name="T18" fmla="*/ 157 w 745"/>
                <a:gd name="T19" fmla="*/ 50 h 638"/>
                <a:gd name="T20" fmla="*/ 0 w 745"/>
                <a:gd name="T21" fmla="*/ 75 h 638"/>
                <a:gd name="T22" fmla="*/ 41 w 745"/>
                <a:gd name="T23" fmla="*/ 635 h 638"/>
                <a:gd name="T24" fmla="*/ 59 w 745"/>
                <a:gd name="T25" fmla="*/ 637 h 638"/>
                <a:gd name="T26" fmla="*/ 64 w 745"/>
                <a:gd name="T27" fmla="*/ 618 h 638"/>
                <a:gd name="T28" fmla="*/ 65 w 745"/>
                <a:gd name="T29" fmla="*/ 610 h 638"/>
                <a:gd name="T30" fmla="*/ 103 w 745"/>
                <a:gd name="T31" fmla="*/ 605 h 638"/>
                <a:gd name="T32" fmla="*/ 152 w 745"/>
                <a:gd name="T33" fmla="*/ 634 h 638"/>
                <a:gd name="T34" fmla="*/ 108 w 745"/>
                <a:gd name="T35" fmla="*/ 575 h 638"/>
                <a:gd name="T36" fmla="*/ 220 w 745"/>
                <a:gd name="T37" fmla="*/ 540 h 638"/>
                <a:gd name="T38" fmla="*/ 388 w 745"/>
                <a:gd name="T39" fmla="*/ 531 h 638"/>
                <a:gd name="T40" fmla="*/ 470 w 745"/>
                <a:gd name="T41" fmla="*/ 529 h 638"/>
                <a:gd name="T42" fmla="*/ 643 w 745"/>
                <a:gd name="T43" fmla="*/ 515 h 638"/>
                <a:gd name="T44" fmla="*/ 679 w 745"/>
                <a:gd name="T45" fmla="*/ 533 h 638"/>
                <a:gd name="T46" fmla="*/ 669 w 745"/>
                <a:gd name="T47" fmla="*/ 501 h 638"/>
                <a:gd name="T48" fmla="*/ 672 w 745"/>
                <a:gd name="T49" fmla="*/ 478 h 638"/>
                <a:gd name="T50" fmla="*/ 721 w 745"/>
                <a:gd name="T51" fmla="*/ 462 h 638"/>
                <a:gd name="T52" fmla="*/ 715 w 745"/>
                <a:gd name="T53" fmla="*/ 433 h 638"/>
                <a:gd name="T54" fmla="*/ 712 w 745"/>
                <a:gd name="T55" fmla="*/ 411 h 638"/>
                <a:gd name="T56" fmla="*/ 717 w 745"/>
                <a:gd name="T57" fmla="*/ 387 h 638"/>
                <a:gd name="T58" fmla="*/ 733 w 745"/>
                <a:gd name="T59" fmla="*/ 366 h 638"/>
                <a:gd name="T60" fmla="*/ 726 w 745"/>
                <a:gd name="T61" fmla="*/ 358 h 638"/>
                <a:gd name="T62" fmla="*/ 733 w 745"/>
                <a:gd name="T63" fmla="*/ 328 h 638"/>
                <a:gd name="T64" fmla="*/ 738 w 745"/>
                <a:gd name="T65" fmla="*/ 284 h 638"/>
                <a:gd name="connsiteX0" fmla="*/ 10059 w 10108"/>
                <a:gd name="connsiteY0" fmla="*/ 4451 h 9990"/>
                <a:gd name="connsiteX1" fmla="*/ 10046 w 10108"/>
                <a:gd name="connsiteY1" fmla="*/ 4404 h 9990"/>
                <a:gd name="connsiteX2" fmla="*/ 9509 w 10108"/>
                <a:gd name="connsiteY2" fmla="*/ 3871 h 9990"/>
                <a:gd name="connsiteX3" fmla="*/ 9374 w 10108"/>
                <a:gd name="connsiteY3" fmla="*/ 3762 h 9990"/>
                <a:gd name="connsiteX4" fmla="*/ 9321 w 10108"/>
                <a:gd name="connsiteY4" fmla="*/ 3715 h 9990"/>
                <a:gd name="connsiteX5" fmla="*/ 9160 w 10108"/>
                <a:gd name="connsiteY5" fmla="*/ 3386 h 9990"/>
                <a:gd name="connsiteX6" fmla="*/ 8757 w 10108"/>
                <a:gd name="connsiteY6" fmla="*/ 2649 h 9990"/>
                <a:gd name="connsiteX7" fmla="*/ 8368 w 10108"/>
                <a:gd name="connsiteY7" fmla="*/ 2382 h 9990"/>
                <a:gd name="connsiteX8" fmla="*/ 8193 w 10108"/>
                <a:gd name="connsiteY8" fmla="*/ 2273 h 9990"/>
                <a:gd name="connsiteX9" fmla="*/ 7683 w 10108"/>
                <a:gd name="connsiteY9" fmla="*/ 1740 h 9990"/>
                <a:gd name="connsiteX10" fmla="*/ 7025 w 10108"/>
                <a:gd name="connsiteY10" fmla="*/ 940 h 9990"/>
                <a:gd name="connsiteX11" fmla="*/ 6502 w 10108"/>
                <a:gd name="connsiteY11" fmla="*/ 768 h 9990"/>
                <a:gd name="connsiteX12" fmla="*/ 6193 w 10108"/>
                <a:gd name="connsiteY12" fmla="*/ 298 h 9990"/>
                <a:gd name="connsiteX13" fmla="*/ 6234 w 10108"/>
                <a:gd name="connsiteY13" fmla="*/ 0 h 9990"/>
                <a:gd name="connsiteX14" fmla="*/ 5482 w 10108"/>
                <a:gd name="connsiteY14" fmla="*/ 188 h 9990"/>
                <a:gd name="connsiteX15" fmla="*/ 4878 w 10108"/>
                <a:gd name="connsiteY15" fmla="*/ 266 h 9990"/>
                <a:gd name="connsiteX16" fmla="*/ 4824 w 10108"/>
                <a:gd name="connsiteY16" fmla="*/ 266 h 9990"/>
                <a:gd name="connsiteX17" fmla="*/ 4824 w 10108"/>
                <a:gd name="connsiteY17" fmla="*/ 266 h 9990"/>
                <a:gd name="connsiteX18" fmla="*/ 2824 w 10108"/>
                <a:gd name="connsiteY18" fmla="*/ 658 h 9990"/>
                <a:gd name="connsiteX19" fmla="*/ 2260 w 10108"/>
                <a:gd name="connsiteY19" fmla="*/ 784 h 9990"/>
                <a:gd name="connsiteX20" fmla="*/ 2193 w 10108"/>
                <a:gd name="connsiteY20" fmla="*/ 799 h 9990"/>
                <a:gd name="connsiteX21" fmla="*/ 3675 w 10108"/>
                <a:gd name="connsiteY21" fmla="*/ 3157 h 9990"/>
                <a:gd name="connsiteX22" fmla="*/ 153 w 10108"/>
                <a:gd name="connsiteY22" fmla="*/ 6850 h 9990"/>
                <a:gd name="connsiteX23" fmla="*/ 703 w 10108"/>
                <a:gd name="connsiteY23" fmla="*/ 9953 h 9990"/>
                <a:gd name="connsiteX24" fmla="*/ 864 w 10108"/>
                <a:gd name="connsiteY24" fmla="*/ 9969 h 9990"/>
                <a:gd name="connsiteX25" fmla="*/ 945 w 10108"/>
                <a:gd name="connsiteY25" fmla="*/ 9984 h 9990"/>
                <a:gd name="connsiteX26" fmla="*/ 958 w 10108"/>
                <a:gd name="connsiteY26" fmla="*/ 9984 h 9990"/>
                <a:gd name="connsiteX27" fmla="*/ 1012 w 10108"/>
                <a:gd name="connsiteY27" fmla="*/ 9687 h 9990"/>
                <a:gd name="connsiteX28" fmla="*/ 1012 w 10108"/>
                <a:gd name="connsiteY28" fmla="*/ 9592 h 9990"/>
                <a:gd name="connsiteX29" fmla="*/ 1025 w 10108"/>
                <a:gd name="connsiteY29" fmla="*/ 9561 h 9990"/>
                <a:gd name="connsiteX30" fmla="*/ 1254 w 10108"/>
                <a:gd name="connsiteY30" fmla="*/ 9185 h 9990"/>
                <a:gd name="connsiteX31" fmla="*/ 1536 w 10108"/>
                <a:gd name="connsiteY31" fmla="*/ 9483 h 9990"/>
                <a:gd name="connsiteX32" fmla="*/ 2005 w 10108"/>
                <a:gd name="connsiteY32" fmla="*/ 9984 h 9990"/>
                <a:gd name="connsiteX33" fmla="*/ 2193 w 10108"/>
                <a:gd name="connsiteY33" fmla="*/ 9937 h 9990"/>
                <a:gd name="connsiteX34" fmla="*/ 2234 w 10108"/>
                <a:gd name="connsiteY34" fmla="*/ 9592 h 9990"/>
                <a:gd name="connsiteX35" fmla="*/ 1603 w 10108"/>
                <a:gd name="connsiteY35" fmla="*/ 9013 h 9990"/>
                <a:gd name="connsiteX36" fmla="*/ 1697 w 10108"/>
                <a:gd name="connsiteY36" fmla="*/ 8793 h 9990"/>
                <a:gd name="connsiteX37" fmla="*/ 3106 w 10108"/>
                <a:gd name="connsiteY37" fmla="*/ 8464 h 9990"/>
                <a:gd name="connsiteX38" fmla="*/ 3468 w 10108"/>
                <a:gd name="connsiteY38" fmla="*/ 8433 h 9990"/>
                <a:gd name="connsiteX39" fmla="*/ 5361 w 10108"/>
                <a:gd name="connsiteY39" fmla="*/ 8323 h 9990"/>
                <a:gd name="connsiteX40" fmla="*/ 5992 w 10108"/>
                <a:gd name="connsiteY40" fmla="*/ 8292 h 9990"/>
                <a:gd name="connsiteX41" fmla="*/ 6462 w 10108"/>
                <a:gd name="connsiteY41" fmla="*/ 8292 h 9990"/>
                <a:gd name="connsiteX42" fmla="*/ 7455 w 10108"/>
                <a:gd name="connsiteY42" fmla="*/ 8197 h 9990"/>
                <a:gd name="connsiteX43" fmla="*/ 8784 w 10108"/>
                <a:gd name="connsiteY43" fmla="*/ 8072 h 9990"/>
                <a:gd name="connsiteX44" fmla="*/ 9093 w 10108"/>
                <a:gd name="connsiteY44" fmla="*/ 8260 h 9990"/>
                <a:gd name="connsiteX45" fmla="*/ 9267 w 10108"/>
                <a:gd name="connsiteY45" fmla="*/ 8354 h 9990"/>
                <a:gd name="connsiteX46" fmla="*/ 9267 w 10108"/>
                <a:gd name="connsiteY46" fmla="*/ 8260 h 9990"/>
                <a:gd name="connsiteX47" fmla="*/ 9133 w 10108"/>
                <a:gd name="connsiteY47" fmla="*/ 7853 h 9990"/>
                <a:gd name="connsiteX48" fmla="*/ 9079 w 10108"/>
                <a:gd name="connsiteY48" fmla="*/ 7539 h 9990"/>
                <a:gd name="connsiteX49" fmla="*/ 9173 w 10108"/>
                <a:gd name="connsiteY49" fmla="*/ 7492 h 9990"/>
                <a:gd name="connsiteX50" fmla="*/ 9831 w 10108"/>
                <a:gd name="connsiteY50" fmla="*/ 7492 h 9990"/>
                <a:gd name="connsiteX51" fmla="*/ 9831 w 10108"/>
                <a:gd name="connsiteY51" fmla="*/ 7241 h 9990"/>
                <a:gd name="connsiteX52" fmla="*/ 9777 w 10108"/>
                <a:gd name="connsiteY52" fmla="*/ 6865 h 9990"/>
                <a:gd name="connsiteX53" fmla="*/ 9750 w 10108"/>
                <a:gd name="connsiteY53" fmla="*/ 6787 h 9990"/>
                <a:gd name="connsiteX54" fmla="*/ 9697 w 10108"/>
                <a:gd name="connsiteY54" fmla="*/ 6677 h 9990"/>
                <a:gd name="connsiteX55" fmla="*/ 9710 w 10108"/>
                <a:gd name="connsiteY55" fmla="*/ 6442 h 9990"/>
                <a:gd name="connsiteX56" fmla="*/ 9764 w 10108"/>
                <a:gd name="connsiteY56" fmla="*/ 6207 h 9990"/>
                <a:gd name="connsiteX57" fmla="*/ 9777 w 10108"/>
                <a:gd name="connsiteY57" fmla="*/ 6066 h 9990"/>
                <a:gd name="connsiteX58" fmla="*/ 9938 w 10108"/>
                <a:gd name="connsiteY58" fmla="*/ 5799 h 9990"/>
                <a:gd name="connsiteX59" fmla="*/ 9992 w 10108"/>
                <a:gd name="connsiteY59" fmla="*/ 5737 h 9990"/>
                <a:gd name="connsiteX60" fmla="*/ 10005 w 10108"/>
                <a:gd name="connsiteY60" fmla="*/ 5705 h 9990"/>
                <a:gd name="connsiteX61" fmla="*/ 9898 w 10108"/>
                <a:gd name="connsiteY61" fmla="*/ 5611 h 9990"/>
                <a:gd name="connsiteX62" fmla="*/ 9804 w 10108"/>
                <a:gd name="connsiteY62" fmla="*/ 5486 h 9990"/>
                <a:gd name="connsiteX63" fmla="*/ 9992 w 10108"/>
                <a:gd name="connsiteY63" fmla="*/ 5141 h 9990"/>
                <a:gd name="connsiteX64" fmla="*/ 10072 w 10108"/>
                <a:gd name="connsiteY64" fmla="*/ 4561 h 9990"/>
                <a:gd name="connsiteX65" fmla="*/ 10059 w 10108"/>
                <a:gd name="connsiteY65" fmla="*/ 4451 h 9990"/>
                <a:gd name="connsiteX0" fmla="*/ 9952 w 10000"/>
                <a:gd name="connsiteY0" fmla="*/ 4455 h 10000"/>
                <a:gd name="connsiteX1" fmla="*/ 9939 w 10000"/>
                <a:gd name="connsiteY1" fmla="*/ 4408 h 10000"/>
                <a:gd name="connsiteX2" fmla="*/ 9407 w 10000"/>
                <a:gd name="connsiteY2" fmla="*/ 3875 h 10000"/>
                <a:gd name="connsiteX3" fmla="*/ 9274 w 10000"/>
                <a:gd name="connsiteY3" fmla="*/ 3766 h 10000"/>
                <a:gd name="connsiteX4" fmla="*/ 9221 w 10000"/>
                <a:gd name="connsiteY4" fmla="*/ 3719 h 10000"/>
                <a:gd name="connsiteX5" fmla="*/ 9062 w 10000"/>
                <a:gd name="connsiteY5" fmla="*/ 3389 h 10000"/>
                <a:gd name="connsiteX6" fmla="*/ 8663 w 10000"/>
                <a:gd name="connsiteY6" fmla="*/ 2652 h 10000"/>
                <a:gd name="connsiteX7" fmla="*/ 8279 w 10000"/>
                <a:gd name="connsiteY7" fmla="*/ 2384 h 10000"/>
                <a:gd name="connsiteX8" fmla="*/ 8105 w 10000"/>
                <a:gd name="connsiteY8" fmla="*/ 2275 h 10000"/>
                <a:gd name="connsiteX9" fmla="*/ 7601 w 10000"/>
                <a:gd name="connsiteY9" fmla="*/ 1742 h 10000"/>
                <a:gd name="connsiteX10" fmla="*/ 6950 w 10000"/>
                <a:gd name="connsiteY10" fmla="*/ 941 h 10000"/>
                <a:gd name="connsiteX11" fmla="*/ 6433 w 10000"/>
                <a:gd name="connsiteY11" fmla="*/ 769 h 10000"/>
                <a:gd name="connsiteX12" fmla="*/ 6127 w 10000"/>
                <a:gd name="connsiteY12" fmla="*/ 298 h 10000"/>
                <a:gd name="connsiteX13" fmla="*/ 6167 w 10000"/>
                <a:gd name="connsiteY13" fmla="*/ 0 h 10000"/>
                <a:gd name="connsiteX14" fmla="*/ 5423 w 10000"/>
                <a:gd name="connsiteY14" fmla="*/ 188 h 10000"/>
                <a:gd name="connsiteX15" fmla="*/ 4826 w 10000"/>
                <a:gd name="connsiteY15" fmla="*/ 266 h 10000"/>
                <a:gd name="connsiteX16" fmla="*/ 4772 w 10000"/>
                <a:gd name="connsiteY16" fmla="*/ 266 h 10000"/>
                <a:gd name="connsiteX17" fmla="*/ 4772 w 10000"/>
                <a:gd name="connsiteY17" fmla="*/ 266 h 10000"/>
                <a:gd name="connsiteX18" fmla="*/ 2794 w 10000"/>
                <a:gd name="connsiteY18" fmla="*/ 659 h 10000"/>
                <a:gd name="connsiteX19" fmla="*/ 2236 w 10000"/>
                <a:gd name="connsiteY19" fmla="*/ 785 h 10000"/>
                <a:gd name="connsiteX20" fmla="*/ 3788 w 10000"/>
                <a:gd name="connsiteY20" fmla="*/ 2342 h 10000"/>
                <a:gd name="connsiteX21" fmla="*/ 3636 w 10000"/>
                <a:gd name="connsiteY21" fmla="*/ 3160 h 10000"/>
                <a:gd name="connsiteX22" fmla="*/ 151 w 10000"/>
                <a:gd name="connsiteY22" fmla="*/ 6857 h 10000"/>
                <a:gd name="connsiteX23" fmla="*/ 695 w 10000"/>
                <a:gd name="connsiteY23" fmla="*/ 9963 h 10000"/>
                <a:gd name="connsiteX24" fmla="*/ 855 w 10000"/>
                <a:gd name="connsiteY24" fmla="*/ 9979 h 10000"/>
                <a:gd name="connsiteX25" fmla="*/ 935 w 10000"/>
                <a:gd name="connsiteY25" fmla="*/ 9994 h 10000"/>
                <a:gd name="connsiteX26" fmla="*/ 948 w 10000"/>
                <a:gd name="connsiteY26" fmla="*/ 9994 h 10000"/>
                <a:gd name="connsiteX27" fmla="*/ 1001 w 10000"/>
                <a:gd name="connsiteY27" fmla="*/ 9697 h 10000"/>
                <a:gd name="connsiteX28" fmla="*/ 1001 w 10000"/>
                <a:gd name="connsiteY28" fmla="*/ 9602 h 10000"/>
                <a:gd name="connsiteX29" fmla="*/ 1014 w 10000"/>
                <a:gd name="connsiteY29" fmla="*/ 9571 h 10000"/>
                <a:gd name="connsiteX30" fmla="*/ 1241 w 10000"/>
                <a:gd name="connsiteY30" fmla="*/ 9194 h 10000"/>
                <a:gd name="connsiteX31" fmla="*/ 1520 w 10000"/>
                <a:gd name="connsiteY31" fmla="*/ 9492 h 10000"/>
                <a:gd name="connsiteX32" fmla="*/ 1984 w 10000"/>
                <a:gd name="connsiteY32" fmla="*/ 9994 h 10000"/>
                <a:gd name="connsiteX33" fmla="*/ 2170 w 10000"/>
                <a:gd name="connsiteY33" fmla="*/ 9947 h 10000"/>
                <a:gd name="connsiteX34" fmla="*/ 2210 w 10000"/>
                <a:gd name="connsiteY34" fmla="*/ 9602 h 10000"/>
                <a:gd name="connsiteX35" fmla="*/ 1586 w 10000"/>
                <a:gd name="connsiteY35" fmla="*/ 9022 h 10000"/>
                <a:gd name="connsiteX36" fmla="*/ 1679 w 10000"/>
                <a:gd name="connsiteY36" fmla="*/ 8802 h 10000"/>
                <a:gd name="connsiteX37" fmla="*/ 3073 w 10000"/>
                <a:gd name="connsiteY37" fmla="*/ 8472 h 10000"/>
                <a:gd name="connsiteX38" fmla="*/ 3431 w 10000"/>
                <a:gd name="connsiteY38" fmla="*/ 8441 h 10000"/>
                <a:gd name="connsiteX39" fmla="*/ 5304 w 10000"/>
                <a:gd name="connsiteY39" fmla="*/ 8331 h 10000"/>
                <a:gd name="connsiteX40" fmla="*/ 5928 w 10000"/>
                <a:gd name="connsiteY40" fmla="*/ 8300 h 10000"/>
                <a:gd name="connsiteX41" fmla="*/ 6393 w 10000"/>
                <a:gd name="connsiteY41" fmla="*/ 8300 h 10000"/>
                <a:gd name="connsiteX42" fmla="*/ 7375 w 10000"/>
                <a:gd name="connsiteY42" fmla="*/ 8205 h 10000"/>
                <a:gd name="connsiteX43" fmla="*/ 8690 w 10000"/>
                <a:gd name="connsiteY43" fmla="*/ 8080 h 10000"/>
                <a:gd name="connsiteX44" fmla="*/ 8996 w 10000"/>
                <a:gd name="connsiteY44" fmla="*/ 8268 h 10000"/>
                <a:gd name="connsiteX45" fmla="*/ 9168 w 10000"/>
                <a:gd name="connsiteY45" fmla="*/ 8362 h 10000"/>
                <a:gd name="connsiteX46" fmla="*/ 9168 w 10000"/>
                <a:gd name="connsiteY46" fmla="*/ 8268 h 10000"/>
                <a:gd name="connsiteX47" fmla="*/ 9035 w 10000"/>
                <a:gd name="connsiteY47" fmla="*/ 7861 h 10000"/>
                <a:gd name="connsiteX48" fmla="*/ 8982 w 10000"/>
                <a:gd name="connsiteY48" fmla="*/ 7547 h 10000"/>
                <a:gd name="connsiteX49" fmla="*/ 9075 w 10000"/>
                <a:gd name="connsiteY49" fmla="*/ 7499 h 10000"/>
                <a:gd name="connsiteX50" fmla="*/ 9726 w 10000"/>
                <a:gd name="connsiteY50" fmla="*/ 7499 h 10000"/>
                <a:gd name="connsiteX51" fmla="*/ 9726 w 10000"/>
                <a:gd name="connsiteY51" fmla="*/ 7248 h 10000"/>
                <a:gd name="connsiteX52" fmla="*/ 9673 w 10000"/>
                <a:gd name="connsiteY52" fmla="*/ 6872 h 10000"/>
                <a:gd name="connsiteX53" fmla="*/ 9646 w 10000"/>
                <a:gd name="connsiteY53" fmla="*/ 6794 h 10000"/>
                <a:gd name="connsiteX54" fmla="*/ 9593 w 10000"/>
                <a:gd name="connsiteY54" fmla="*/ 6684 h 10000"/>
                <a:gd name="connsiteX55" fmla="*/ 9606 w 10000"/>
                <a:gd name="connsiteY55" fmla="*/ 6448 h 10000"/>
                <a:gd name="connsiteX56" fmla="*/ 9660 w 10000"/>
                <a:gd name="connsiteY56" fmla="*/ 6213 h 10000"/>
                <a:gd name="connsiteX57" fmla="*/ 9673 w 10000"/>
                <a:gd name="connsiteY57" fmla="*/ 6072 h 10000"/>
                <a:gd name="connsiteX58" fmla="*/ 9832 w 10000"/>
                <a:gd name="connsiteY58" fmla="*/ 5805 h 10000"/>
                <a:gd name="connsiteX59" fmla="*/ 9885 w 10000"/>
                <a:gd name="connsiteY59" fmla="*/ 5743 h 10000"/>
                <a:gd name="connsiteX60" fmla="*/ 9898 w 10000"/>
                <a:gd name="connsiteY60" fmla="*/ 5711 h 10000"/>
                <a:gd name="connsiteX61" fmla="*/ 9792 w 10000"/>
                <a:gd name="connsiteY61" fmla="*/ 5617 h 10000"/>
                <a:gd name="connsiteX62" fmla="*/ 9699 w 10000"/>
                <a:gd name="connsiteY62" fmla="*/ 5491 h 10000"/>
                <a:gd name="connsiteX63" fmla="*/ 9885 w 10000"/>
                <a:gd name="connsiteY63" fmla="*/ 5146 h 10000"/>
                <a:gd name="connsiteX64" fmla="*/ 9964 w 10000"/>
                <a:gd name="connsiteY64" fmla="*/ 4566 h 10000"/>
                <a:gd name="connsiteX65" fmla="*/ 9952 w 10000"/>
                <a:gd name="connsiteY65" fmla="*/ 4455 h 10000"/>
                <a:gd name="connsiteX0" fmla="*/ 9952 w 10000"/>
                <a:gd name="connsiteY0" fmla="*/ 4455 h 10000"/>
                <a:gd name="connsiteX1" fmla="*/ 9939 w 10000"/>
                <a:gd name="connsiteY1" fmla="*/ 4408 h 10000"/>
                <a:gd name="connsiteX2" fmla="*/ 9407 w 10000"/>
                <a:gd name="connsiteY2" fmla="*/ 3875 h 10000"/>
                <a:gd name="connsiteX3" fmla="*/ 9274 w 10000"/>
                <a:gd name="connsiteY3" fmla="*/ 3766 h 10000"/>
                <a:gd name="connsiteX4" fmla="*/ 9221 w 10000"/>
                <a:gd name="connsiteY4" fmla="*/ 3719 h 10000"/>
                <a:gd name="connsiteX5" fmla="*/ 9062 w 10000"/>
                <a:gd name="connsiteY5" fmla="*/ 3389 h 10000"/>
                <a:gd name="connsiteX6" fmla="*/ 8663 w 10000"/>
                <a:gd name="connsiteY6" fmla="*/ 2652 h 10000"/>
                <a:gd name="connsiteX7" fmla="*/ 8279 w 10000"/>
                <a:gd name="connsiteY7" fmla="*/ 2384 h 10000"/>
                <a:gd name="connsiteX8" fmla="*/ 8105 w 10000"/>
                <a:gd name="connsiteY8" fmla="*/ 2275 h 10000"/>
                <a:gd name="connsiteX9" fmla="*/ 7601 w 10000"/>
                <a:gd name="connsiteY9" fmla="*/ 1742 h 10000"/>
                <a:gd name="connsiteX10" fmla="*/ 6950 w 10000"/>
                <a:gd name="connsiteY10" fmla="*/ 941 h 10000"/>
                <a:gd name="connsiteX11" fmla="*/ 6433 w 10000"/>
                <a:gd name="connsiteY11" fmla="*/ 769 h 10000"/>
                <a:gd name="connsiteX12" fmla="*/ 6127 w 10000"/>
                <a:gd name="connsiteY12" fmla="*/ 298 h 10000"/>
                <a:gd name="connsiteX13" fmla="*/ 6167 w 10000"/>
                <a:gd name="connsiteY13" fmla="*/ 0 h 10000"/>
                <a:gd name="connsiteX14" fmla="*/ 5423 w 10000"/>
                <a:gd name="connsiteY14" fmla="*/ 188 h 10000"/>
                <a:gd name="connsiteX15" fmla="*/ 4826 w 10000"/>
                <a:gd name="connsiteY15" fmla="*/ 266 h 10000"/>
                <a:gd name="connsiteX16" fmla="*/ 4772 w 10000"/>
                <a:gd name="connsiteY16" fmla="*/ 266 h 10000"/>
                <a:gd name="connsiteX17" fmla="*/ 4772 w 10000"/>
                <a:gd name="connsiteY17" fmla="*/ 266 h 10000"/>
                <a:gd name="connsiteX18" fmla="*/ 2794 w 10000"/>
                <a:gd name="connsiteY18" fmla="*/ 659 h 10000"/>
                <a:gd name="connsiteX19" fmla="*/ 3605 w 10000"/>
                <a:gd name="connsiteY19" fmla="*/ 1666 h 10000"/>
                <a:gd name="connsiteX20" fmla="*/ 3788 w 10000"/>
                <a:gd name="connsiteY20" fmla="*/ 2342 h 10000"/>
                <a:gd name="connsiteX21" fmla="*/ 3636 w 10000"/>
                <a:gd name="connsiteY21" fmla="*/ 3160 h 10000"/>
                <a:gd name="connsiteX22" fmla="*/ 151 w 10000"/>
                <a:gd name="connsiteY22" fmla="*/ 6857 h 10000"/>
                <a:gd name="connsiteX23" fmla="*/ 695 w 10000"/>
                <a:gd name="connsiteY23" fmla="*/ 9963 h 10000"/>
                <a:gd name="connsiteX24" fmla="*/ 855 w 10000"/>
                <a:gd name="connsiteY24" fmla="*/ 9979 h 10000"/>
                <a:gd name="connsiteX25" fmla="*/ 935 w 10000"/>
                <a:gd name="connsiteY25" fmla="*/ 9994 h 10000"/>
                <a:gd name="connsiteX26" fmla="*/ 948 w 10000"/>
                <a:gd name="connsiteY26" fmla="*/ 9994 h 10000"/>
                <a:gd name="connsiteX27" fmla="*/ 1001 w 10000"/>
                <a:gd name="connsiteY27" fmla="*/ 9697 h 10000"/>
                <a:gd name="connsiteX28" fmla="*/ 1001 w 10000"/>
                <a:gd name="connsiteY28" fmla="*/ 9602 h 10000"/>
                <a:gd name="connsiteX29" fmla="*/ 1014 w 10000"/>
                <a:gd name="connsiteY29" fmla="*/ 9571 h 10000"/>
                <a:gd name="connsiteX30" fmla="*/ 1241 w 10000"/>
                <a:gd name="connsiteY30" fmla="*/ 9194 h 10000"/>
                <a:gd name="connsiteX31" fmla="*/ 1520 w 10000"/>
                <a:gd name="connsiteY31" fmla="*/ 9492 h 10000"/>
                <a:gd name="connsiteX32" fmla="*/ 1984 w 10000"/>
                <a:gd name="connsiteY32" fmla="*/ 9994 h 10000"/>
                <a:gd name="connsiteX33" fmla="*/ 2170 w 10000"/>
                <a:gd name="connsiteY33" fmla="*/ 9947 h 10000"/>
                <a:gd name="connsiteX34" fmla="*/ 2210 w 10000"/>
                <a:gd name="connsiteY34" fmla="*/ 9602 h 10000"/>
                <a:gd name="connsiteX35" fmla="*/ 1586 w 10000"/>
                <a:gd name="connsiteY35" fmla="*/ 9022 h 10000"/>
                <a:gd name="connsiteX36" fmla="*/ 1679 w 10000"/>
                <a:gd name="connsiteY36" fmla="*/ 8802 h 10000"/>
                <a:gd name="connsiteX37" fmla="*/ 3073 w 10000"/>
                <a:gd name="connsiteY37" fmla="*/ 8472 h 10000"/>
                <a:gd name="connsiteX38" fmla="*/ 3431 w 10000"/>
                <a:gd name="connsiteY38" fmla="*/ 8441 h 10000"/>
                <a:gd name="connsiteX39" fmla="*/ 5304 w 10000"/>
                <a:gd name="connsiteY39" fmla="*/ 8331 h 10000"/>
                <a:gd name="connsiteX40" fmla="*/ 5928 w 10000"/>
                <a:gd name="connsiteY40" fmla="*/ 8300 h 10000"/>
                <a:gd name="connsiteX41" fmla="*/ 6393 w 10000"/>
                <a:gd name="connsiteY41" fmla="*/ 8300 h 10000"/>
                <a:gd name="connsiteX42" fmla="*/ 7375 w 10000"/>
                <a:gd name="connsiteY42" fmla="*/ 8205 h 10000"/>
                <a:gd name="connsiteX43" fmla="*/ 8690 w 10000"/>
                <a:gd name="connsiteY43" fmla="*/ 8080 h 10000"/>
                <a:gd name="connsiteX44" fmla="*/ 8996 w 10000"/>
                <a:gd name="connsiteY44" fmla="*/ 8268 h 10000"/>
                <a:gd name="connsiteX45" fmla="*/ 9168 w 10000"/>
                <a:gd name="connsiteY45" fmla="*/ 8362 h 10000"/>
                <a:gd name="connsiteX46" fmla="*/ 9168 w 10000"/>
                <a:gd name="connsiteY46" fmla="*/ 8268 h 10000"/>
                <a:gd name="connsiteX47" fmla="*/ 9035 w 10000"/>
                <a:gd name="connsiteY47" fmla="*/ 7861 h 10000"/>
                <a:gd name="connsiteX48" fmla="*/ 8982 w 10000"/>
                <a:gd name="connsiteY48" fmla="*/ 7547 h 10000"/>
                <a:gd name="connsiteX49" fmla="*/ 9075 w 10000"/>
                <a:gd name="connsiteY49" fmla="*/ 7499 h 10000"/>
                <a:gd name="connsiteX50" fmla="*/ 9726 w 10000"/>
                <a:gd name="connsiteY50" fmla="*/ 7499 h 10000"/>
                <a:gd name="connsiteX51" fmla="*/ 9726 w 10000"/>
                <a:gd name="connsiteY51" fmla="*/ 7248 h 10000"/>
                <a:gd name="connsiteX52" fmla="*/ 9673 w 10000"/>
                <a:gd name="connsiteY52" fmla="*/ 6872 h 10000"/>
                <a:gd name="connsiteX53" fmla="*/ 9646 w 10000"/>
                <a:gd name="connsiteY53" fmla="*/ 6794 h 10000"/>
                <a:gd name="connsiteX54" fmla="*/ 9593 w 10000"/>
                <a:gd name="connsiteY54" fmla="*/ 6684 h 10000"/>
                <a:gd name="connsiteX55" fmla="*/ 9606 w 10000"/>
                <a:gd name="connsiteY55" fmla="*/ 6448 h 10000"/>
                <a:gd name="connsiteX56" fmla="*/ 9660 w 10000"/>
                <a:gd name="connsiteY56" fmla="*/ 6213 h 10000"/>
                <a:gd name="connsiteX57" fmla="*/ 9673 w 10000"/>
                <a:gd name="connsiteY57" fmla="*/ 6072 h 10000"/>
                <a:gd name="connsiteX58" fmla="*/ 9832 w 10000"/>
                <a:gd name="connsiteY58" fmla="*/ 5805 h 10000"/>
                <a:gd name="connsiteX59" fmla="*/ 9885 w 10000"/>
                <a:gd name="connsiteY59" fmla="*/ 5743 h 10000"/>
                <a:gd name="connsiteX60" fmla="*/ 9898 w 10000"/>
                <a:gd name="connsiteY60" fmla="*/ 5711 h 10000"/>
                <a:gd name="connsiteX61" fmla="*/ 9792 w 10000"/>
                <a:gd name="connsiteY61" fmla="*/ 5617 h 10000"/>
                <a:gd name="connsiteX62" fmla="*/ 9699 w 10000"/>
                <a:gd name="connsiteY62" fmla="*/ 5491 h 10000"/>
                <a:gd name="connsiteX63" fmla="*/ 9885 w 10000"/>
                <a:gd name="connsiteY63" fmla="*/ 5146 h 10000"/>
                <a:gd name="connsiteX64" fmla="*/ 9964 w 10000"/>
                <a:gd name="connsiteY64" fmla="*/ 4566 h 10000"/>
                <a:gd name="connsiteX65" fmla="*/ 9952 w 10000"/>
                <a:gd name="connsiteY65" fmla="*/ 4455 h 10000"/>
                <a:gd name="connsiteX0" fmla="*/ 9952 w 10000"/>
                <a:gd name="connsiteY0" fmla="*/ 4455 h 10000"/>
                <a:gd name="connsiteX1" fmla="*/ 9939 w 10000"/>
                <a:gd name="connsiteY1" fmla="*/ 4408 h 10000"/>
                <a:gd name="connsiteX2" fmla="*/ 9407 w 10000"/>
                <a:gd name="connsiteY2" fmla="*/ 3875 h 10000"/>
                <a:gd name="connsiteX3" fmla="*/ 9274 w 10000"/>
                <a:gd name="connsiteY3" fmla="*/ 3766 h 10000"/>
                <a:gd name="connsiteX4" fmla="*/ 9221 w 10000"/>
                <a:gd name="connsiteY4" fmla="*/ 3719 h 10000"/>
                <a:gd name="connsiteX5" fmla="*/ 9062 w 10000"/>
                <a:gd name="connsiteY5" fmla="*/ 3389 h 10000"/>
                <a:gd name="connsiteX6" fmla="*/ 8663 w 10000"/>
                <a:gd name="connsiteY6" fmla="*/ 2652 h 10000"/>
                <a:gd name="connsiteX7" fmla="*/ 8279 w 10000"/>
                <a:gd name="connsiteY7" fmla="*/ 2384 h 10000"/>
                <a:gd name="connsiteX8" fmla="*/ 8105 w 10000"/>
                <a:gd name="connsiteY8" fmla="*/ 2275 h 10000"/>
                <a:gd name="connsiteX9" fmla="*/ 7601 w 10000"/>
                <a:gd name="connsiteY9" fmla="*/ 1742 h 10000"/>
                <a:gd name="connsiteX10" fmla="*/ 6950 w 10000"/>
                <a:gd name="connsiteY10" fmla="*/ 941 h 10000"/>
                <a:gd name="connsiteX11" fmla="*/ 6433 w 10000"/>
                <a:gd name="connsiteY11" fmla="*/ 769 h 10000"/>
                <a:gd name="connsiteX12" fmla="*/ 6127 w 10000"/>
                <a:gd name="connsiteY12" fmla="*/ 298 h 10000"/>
                <a:gd name="connsiteX13" fmla="*/ 6167 w 10000"/>
                <a:gd name="connsiteY13" fmla="*/ 0 h 10000"/>
                <a:gd name="connsiteX14" fmla="*/ 5423 w 10000"/>
                <a:gd name="connsiteY14" fmla="*/ 188 h 10000"/>
                <a:gd name="connsiteX15" fmla="*/ 4826 w 10000"/>
                <a:gd name="connsiteY15" fmla="*/ 266 h 10000"/>
                <a:gd name="connsiteX16" fmla="*/ 4772 w 10000"/>
                <a:gd name="connsiteY16" fmla="*/ 266 h 10000"/>
                <a:gd name="connsiteX17" fmla="*/ 4772 w 10000"/>
                <a:gd name="connsiteY17" fmla="*/ 266 h 10000"/>
                <a:gd name="connsiteX18" fmla="*/ 2794 w 10000"/>
                <a:gd name="connsiteY18" fmla="*/ 659 h 10000"/>
                <a:gd name="connsiteX19" fmla="*/ 3605 w 10000"/>
                <a:gd name="connsiteY19" fmla="*/ 1666 h 10000"/>
                <a:gd name="connsiteX20" fmla="*/ 3788 w 10000"/>
                <a:gd name="connsiteY20" fmla="*/ 2342 h 10000"/>
                <a:gd name="connsiteX21" fmla="*/ 3636 w 10000"/>
                <a:gd name="connsiteY21" fmla="*/ 3160 h 10000"/>
                <a:gd name="connsiteX22" fmla="*/ 151 w 10000"/>
                <a:gd name="connsiteY22" fmla="*/ 6857 h 10000"/>
                <a:gd name="connsiteX23" fmla="*/ 695 w 10000"/>
                <a:gd name="connsiteY23" fmla="*/ 9963 h 10000"/>
                <a:gd name="connsiteX24" fmla="*/ 855 w 10000"/>
                <a:gd name="connsiteY24" fmla="*/ 9979 h 10000"/>
                <a:gd name="connsiteX25" fmla="*/ 935 w 10000"/>
                <a:gd name="connsiteY25" fmla="*/ 9994 h 10000"/>
                <a:gd name="connsiteX26" fmla="*/ 948 w 10000"/>
                <a:gd name="connsiteY26" fmla="*/ 9994 h 10000"/>
                <a:gd name="connsiteX27" fmla="*/ 1001 w 10000"/>
                <a:gd name="connsiteY27" fmla="*/ 9697 h 10000"/>
                <a:gd name="connsiteX28" fmla="*/ 1001 w 10000"/>
                <a:gd name="connsiteY28" fmla="*/ 9602 h 10000"/>
                <a:gd name="connsiteX29" fmla="*/ 1014 w 10000"/>
                <a:gd name="connsiteY29" fmla="*/ 9571 h 10000"/>
                <a:gd name="connsiteX30" fmla="*/ 1241 w 10000"/>
                <a:gd name="connsiteY30" fmla="*/ 9194 h 10000"/>
                <a:gd name="connsiteX31" fmla="*/ 1520 w 10000"/>
                <a:gd name="connsiteY31" fmla="*/ 9492 h 10000"/>
                <a:gd name="connsiteX32" fmla="*/ 1984 w 10000"/>
                <a:gd name="connsiteY32" fmla="*/ 9994 h 10000"/>
                <a:gd name="connsiteX33" fmla="*/ 2170 w 10000"/>
                <a:gd name="connsiteY33" fmla="*/ 9947 h 10000"/>
                <a:gd name="connsiteX34" fmla="*/ 2210 w 10000"/>
                <a:gd name="connsiteY34" fmla="*/ 9602 h 10000"/>
                <a:gd name="connsiteX35" fmla="*/ 1586 w 10000"/>
                <a:gd name="connsiteY35" fmla="*/ 9022 h 10000"/>
                <a:gd name="connsiteX36" fmla="*/ 3073 w 10000"/>
                <a:gd name="connsiteY36" fmla="*/ 8472 h 10000"/>
                <a:gd name="connsiteX37" fmla="*/ 3431 w 10000"/>
                <a:gd name="connsiteY37" fmla="*/ 8441 h 10000"/>
                <a:gd name="connsiteX38" fmla="*/ 5304 w 10000"/>
                <a:gd name="connsiteY38" fmla="*/ 8331 h 10000"/>
                <a:gd name="connsiteX39" fmla="*/ 5928 w 10000"/>
                <a:gd name="connsiteY39" fmla="*/ 8300 h 10000"/>
                <a:gd name="connsiteX40" fmla="*/ 6393 w 10000"/>
                <a:gd name="connsiteY40" fmla="*/ 8300 h 10000"/>
                <a:gd name="connsiteX41" fmla="*/ 7375 w 10000"/>
                <a:gd name="connsiteY41" fmla="*/ 8205 h 10000"/>
                <a:gd name="connsiteX42" fmla="*/ 8690 w 10000"/>
                <a:gd name="connsiteY42" fmla="*/ 8080 h 10000"/>
                <a:gd name="connsiteX43" fmla="*/ 8996 w 10000"/>
                <a:gd name="connsiteY43" fmla="*/ 8268 h 10000"/>
                <a:gd name="connsiteX44" fmla="*/ 9168 w 10000"/>
                <a:gd name="connsiteY44" fmla="*/ 8362 h 10000"/>
                <a:gd name="connsiteX45" fmla="*/ 9168 w 10000"/>
                <a:gd name="connsiteY45" fmla="*/ 8268 h 10000"/>
                <a:gd name="connsiteX46" fmla="*/ 9035 w 10000"/>
                <a:gd name="connsiteY46" fmla="*/ 7861 h 10000"/>
                <a:gd name="connsiteX47" fmla="*/ 8982 w 10000"/>
                <a:gd name="connsiteY47" fmla="*/ 7547 h 10000"/>
                <a:gd name="connsiteX48" fmla="*/ 9075 w 10000"/>
                <a:gd name="connsiteY48" fmla="*/ 7499 h 10000"/>
                <a:gd name="connsiteX49" fmla="*/ 9726 w 10000"/>
                <a:gd name="connsiteY49" fmla="*/ 7499 h 10000"/>
                <a:gd name="connsiteX50" fmla="*/ 9726 w 10000"/>
                <a:gd name="connsiteY50" fmla="*/ 7248 h 10000"/>
                <a:gd name="connsiteX51" fmla="*/ 9673 w 10000"/>
                <a:gd name="connsiteY51" fmla="*/ 6872 h 10000"/>
                <a:gd name="connsiteX52" fmla="*/ 9646 w 10000"/>
                <a:gd name="connsiteY52" fmla="*/ 6794 h 10000"/>
                <a:gd name="connsiteX53" fmla="*/ 9593 w 10000"/>
                <a:gd name="connsiteY53" fmla="*/ 6684 h 10000"/>
                <a:gd name="connsiteX54" fmla="*/ 9606 w 10000"/>
                <a:gd name="connsiteY54" fmla="*/ 6448 h 10000"/>
                <a:gd name="connsiteX55" fmla="*/ 9660 w 10000"/>
                <a:gd name="connsiteY55" fmla="*/ 6213 h 10000"/>
                <a:gd name="connsiteX56" fmla="*/ 9673 w 10000"/>
                <a:gd name="connsiteY56" fmla="*/ 6072 h 10000"/>
                <a:gd name="connsiteX57" fmla="*/ 9832 w 10000"/>
                <a:gd name="connsiteY57" fmla="*/ 5805 h 10000"/>
                <a:gd name="connsiteX58" fmla="*/ 9885 w 10000"/>
                <a:gd name="connsiteY58" fmla="*/ 5743 h 10000"/>
                <a:gd name="connsiteX59" fmla="*/ 9898 w 10000"/>
                <a:gd name="connsiteY59" fmla="*/ 5711 h 10000"/>
                <a:gd name="connsiteX60" fmla="*/ 9792 w 10000"/>
                <a:gd name="connsiteY60" fmla="*/ 5617 h 10000"/>
                <a:gd name="connsiteX61" fmla="*/ 9699 w 10000"/>
                <a:gd name="connsiteY61" fmla="*/ 5491 h 10000"/>
                <a:gd name="connsiteX62" fmla="*/ 9885 w 10000"/>
                <a:gd name="connsiteY62" fmla="*/ 5146 h 10000"/>
                <a:gd name="connsiteX63" fmla="*/ 9964 w 10000"/>
                <a:gd name="connsiteY63" fmla="*/ 4566 h 10000"/>
                <a:gd name="connsiteX64" fmla="*/ 9952 w 10000"/>
                <a:gd name="connsiteY64" fmla="*/ 4455 h 10000"/>
                <a:gd name="connsiteX0" fmla="*/ 9257 w 9305"/>
                <a:gd name="connsiteY0" fmla="*/ 4455 h 10000"/>
                <a:gd name="connsiteX1" fmla="*/ 9244 w 9305"/>
                <a:gd name="connsiteY1" fmla="*/ 4408 h 10000"/>
                <a:gd name="connsiteX2" fmla="*/ 8712 w 9305"/>
                <a:gd name="connsiteY2" fmla="*/ 3875 h 10000"/>
                <a:gd name="connsiteX3" fmla="*/ 8579 w 9305"/>
                <a:gd name="connsiteY3" fmla="*/ 3766 h 10000"/>
                <a:gd name="connsiteX4" fmla="*/ 8526 w 9305"/>
                <a:gd name="connsiteY4" fmla="*/ 3719 h 10000"/>
                <a:gd name="connsiteX5" fmla="*/ 8367 w 9305"/>
                <a:gd name="connsiteY5" fmla="*/ 3389 h 10000"/>
                <a:gd name="connsiteX6" fmla="*/ 7968 w 9305"/>
                <a:gd name="connsiteY6" fmla="*/ 2652 h 10000"/>
                <a:gd name="connsiteX7" fmla="*/ 7584 w 9305"/>
                <a:gd name="connsiteY7" fmla="*/ 2384 h 10000"/>
                <a:gd name="connsiteX8" fmla="*/ 7410 w 9305"/>
                <a:gd name="connsiteY8" fmla="*/ 2275 h 10000"/>
                <a:gd name="connsiteX9" fmla="*/ 6906 w 9305"/>
                <a:gd name="connsiteY9" fmla="*/ 1742 h 10000"/>
                <a:gd name="connsiteX10" fmla="*/ 6255 w 9305"/>
                <a:gd name="connsiteY10" fmla="*/ 941 h 10000"/>
                <a:gd name="connsiteX11" fmla="*/ 5738 w 9305"/>
                <a:gd name="connsiteY11" fmla="*/ 769 h 10000"/>
                <a:gd name="connsiteX12" fmla="*/ 5432 w 9305"/>
                <a:gd name="connsiteY12" fmla="*/ 298 h 10000"/>
                <a:gd name="connsiteX13" fmla="*/ 5472 w 9305"/>
                <a:gd name="connsiteY13" fmla="*/ 0 h 10000"/>
                <a:gd name="connsiteX14" fmla="*/ 4728 w 9305"/>
                <a:gd name="connsiteY14" fmla="*/ 188 h 10000"/>
                <a:gd name="connsiteX15" fmla="*/ 4131 w 9305"/>
                <a:gd name="connsiteY15" fmla="*/ 266 h 10000"/>
                <a:gd name="connsiteX16" fmla="*/ 4077 w 9305"/>
                <a:gd name="connsiteY16" fmla="*/ 266 h 10000"/>
                <a:gd name="connsiteX17" fmla="*/ 4077 w 9305"/>
                <a:gd name="connsiteY17" fmla="*/ 266 h 10000"/>
                <a:gd name="connsiteX18" fmla="*/ 2099 w 9305"/>
                <a:gd name="connsiteY18" fmla="*/ 659 h 10000"/>
                <a:gd name="connsiteX19" fmla="*/ 2910 w 9305"/>
                <a:gd name="connsiteY19" fmla="*/ 1666 h 10000"/>
                <a:gd name="connsiteX20" fmla="*/ 3093 w 9305"/>
                <a:gd name="connsiteY20" fmla="*/ 2342 h 10000"/>
                <a:gd name="connsiteX21" fmla="*/ 2941 w 9305"/>
                <a:gd name="connsiteY21" fmla="*/ 3160 h 10000"/>
                <a:gd name="connsiteX22" fmla="*/ 0 w 9305"/>
                <a:gd name="connsiteY22" fmla="*/ 9963 h 10000"/>
                <a:gd name="connsiteX23" fmla="*/ 160 w 9305"/>
                <a:gd name="connsiteY23" fmla="*/ 9979 h 10000"/>
                <a:gd name="connsiteX24" fmla="*/ 240 w 9305"/>
                <a:gd name="connsiteY24" fmla="*/ 9994 h 10000"/>
                <a:gd name="connsiteX25" fmla="*/ 253 w 9305"/>
                <a:gd name="connsiteY25" fmla="*/ 9994 h 10000"/>
                <a:gd name="connsiteX26" fmla="*/ 306 w 9305"/>
                <a:gd name="connsiteY26" fmla="*/ 9697 h 10000"/>
                <a:gd name="connsiteX27" fmla="*/ 306 w 9305"/>
                <a:gd name="connsiteY27" fmla="*/ 9602 h 10000"/>
                <a:gd name="connsiteX28" fmla="*/ 319 w 9305"/>
                <a:gd name="connsiteY28" fmla="*/ 9571 h 10000"/>
                <a:gd name="connsiteX29" fmla="*/ 546 w 9305"/>
                <a:gd name="connsiteY29" fmla="*/ 9194 h 10000"/>
                <a:gd name="connsiteX30" fmla="*/ 825 w 9305"/>
                <a:gd name="connsiteY30" fmla="*/ 9492 h 10000"/>
                <a:gd name="connsiteX31" fmla="*/ 1289 w 9305"/>
                <a:gd name="connsiteY31" fmla="*/ 9994 h 10000"/>
                <a:gd name="connsiteX32" fmla="*/ 1475 w 9305"/>
                <a:gd name="connsiteY32" fmla="*/ 9947 h 10000"/>
                <a:gd name="connsiteX33" fmla="*/ 1515 w 9305"/>
                <a:gd name="connsiteY33" fmla="*/ 9602 h 10000"/>
                <a:gd name="connsiteX34" fmla="*/ 891 w 9305"/>
                <a:gd name="connsiteY34" fmla="*/ 9022 h 10000"/>
                <a:gd name="connsiteX35" fmla="*/ 2378 w 9305"/>
                <a:gd name="connsiteY35" fmla="*/ 8472 h 10000"/>
                <a:gd name="connsiteX36" fmla="*/ 2736 w 9305"/>
                <a:gd name="connsiteY36" fmla="*/ 8441 h 10000"/>
                <a:gd name="connsiteX37" fmla="*/ 4609 w 9305"/>
                <a:gd name="connsiteY37" fmla="*/ 8331 h 10000"/>
                <a:gd name="connsiteX38" fmla="*/ 5233 w 9305"/>
                <a:gd name="connsiteY38" fmla="*/ 8300 h 10000"/>
                <a:gd name="connsiteX39" fmla="*/ 5698 w 9305"/>
                <a:gd name="connsiteY39" fmla="*/ 8300 h 10000"/>
                <a:gd name="connsiteX40" fmla="*/ 6680 w 9305"/>
                <a:gd name="connsiteY40" fmla="*/ 8205 h 10000"/>
                <a:gd name="connsiteX41" fmla="*/ 7995 w 9305"/>
                <a:gd name="connsiteY41" fmla="*/ 8080 h 10000"/>
                <a:gd name="connsiteX42" fmla="*/ 8301 w 9305"/>
                <a:gd name="connsiteY42" fmla="*/ 8268 h 10000"/>
                <a:gd name="connsiteX43" fmla="*/ 8473 w 9305"/>
                <a:gd name="connsiteY43" fmla="*/ 8362 h 10000"/>
                <a:gd name="connsiteX44" fmla="*/ 8473 w 9305"/>
                <a:gd name="connsiteY44" fmla="*/ 8268 h 10000"/>
                <a:gd name="connsiteX45" fmla="*/ 8340 w 9305"/>
                <a:gd name="connsiteY45" fmla="*/ 7861 h 10000"/>
                <a:gd name="connsiteX46" fmla="*/ 8287 w 9305"/>
                <a:gd name="connsiteY46" fmla="*/ 7547 h 10000"/>
                <a:gd name="connsiteX47" fmla="*/ 8380 w 9305"/>
                <a:gd name="connsiteY47" fmla="*/ 7499 h 10000"/>
                <a:gd name="connsiteX48" fmla="*/ 9031 w 9305"/>
                <a:gd name="connsiteY48" fmla="*/ 7499 h 10000"/>
                <a:gd name="connsiteX49" fmla="*/ 9031 w 9305"/>
                <a:gd name="connsiteY49" fmla="*/ 7248 h 10000"/>
                <a:gd name="connsiteX50" fmla="*/ 8978 w 9305"/>
                <a:gd name="connsiteY50" fmla="*/ 6872 h 10000"/>
                <a:gd name="connsiteX51" fmla="*/ 8951 w 9305"/>
                <a:gd name="connsiteY51" fmla="*/ 6794 h 10000"/>
                <a:gd name="connsiteX52" fmla="*/ 8898 w 9305"/>
                <a:gd name="connsiteY52" fmla="*/ 6684 h 10000"/>
                <a:gd name="connsiteX53" fmla="*/ 8911 w 9305"/>
                <a:gd name="connsiteY53" fmla="*/ 6448 h 10000"/>
                <a:gd name="connsiteX54" fmla="*/ 8965 w 9305"/>
                <a:gd name="connsiteY54" fmla="*/ 6213 h 10000"/>
                <a:gd name="connsiteX55" fmla="*/ 8978 w 9305"/>
                <a:gd name="connsiteY55" fmla="*/ 6072 h 10000"/>
                <a:gd name="connsiteX56" fmla="*/ 9137 w 9305"/>
                <a:gd name="connsiteY56" fmla="*/ 5805 h 10000"/>
                <a:gd name="connsiteX57" fmla="*/ 9190 w 9305"/>
                <a:gd name="connsiteY57" fmla="*/ 5743 h 10000"/>
                <a:gd name="connsiteX58" fmla="*/ 9203 w 9305"/>
                <a:gd name="connsiteY58" fmla="*/ 5711 h 10000"/>
                <a:gd name="connsiteX59" fmla="*/ 9097 w 9305"/>
                <a:gd name="connsiteY59" fmla="*/ 5617 h 10000"/>
                <a:gd name="connsiteX60" fmla="*/ 9004 w 9305"/>
                <a:gd name="connsiteY60" fmla="*/ 5491 h 10000"/>
                <a:gd name="connsiteX61" fmla="*/ 9190 w 9305"/>
                <a:gd name="connsiteY61" fmla="*/ 5146 h 10000"/>
                <a:gd name="connsiteX62" fmla="*/ 9269 w 9305"/>
                <a:gd name="connsiteY62" fmla="*/ 4566 h 10000"/>
                <a:gd name="connsiteX63" fmla="*/ 9257 w 9305"/>
                <a:gd name="connsiteY63" fmla="*/ 4455 h 10000"/>
                <a:gd name="connsiteX0" fmla="*/ 9948 w 10000"/>
                <a:gd name="connsiteY0" fmla="*/ 4455 h 10022"/>
                <a:gd name="connsiteX1" fmla="*/ 9934 w 10000"/>
                <a:gd name="connsiteY1" fmla="*/ 4408 h 10022"/>
                <a:gd name="connsiteX2" fmla="*/ 9363 w 10000"/>
                <a:gd name="connsiteY2" fmla="*/ 3875 h 10022"/>
                <a:gd name="connsiteX3" fmla="*/ 9220 w 10000"/>
                <a:gd name="connsiteY3" fmla="*/ 3766 h 10022"/>
                <a:gd name="connsiteX4" fmla="*/ 9163 w 10000"/>
                <a:gd name="connsiteY4" fmla="*/ 3719 h 10022"/>
                <a:gd name="connsiteX5" fmla="*/ 8992 w 10000"/>
                <a:gd name="connsiteY5" fmla="*/ 3389 h 10022"/>
                <a:gd name="connsiteX6" fmla="*/ 8563 w 10000"/>
                <a:gd name="connsiteY6" fmla="*/ 2652 h 10022"/>
                <a:gd name="connsiteX7" fmla="*/ 8150 w 10000"/>
                <a:gd name="connsiteY7" fmla="*/ 2384 h 10022"/>
                <a:gd name="connsiteX8" fmla="*/ 7963 w 10000"/>
                <a:gd name="connsiteY8" fmla="*/ 2275 h 10022"/>
                <a:gd name="connsiteX9" fmla="*/ 7422 w 10000"/>
                <a:gd name="connsiteY9" fmla="*/ 1742 h 10022"/>
                <a:gd name="connsiteX10" fmla="*/ 6722 w 10000"/>
                <a:gd name="connsiteY10" fmla="*/ 941 h 10022"/>
                <a:gd name="connsiteX11" fmla="*/ 6167 w 10000"/>
                <a:gd name="connsiteY11" fmla="*/ 769 h 10022"/>
                <a:gd name="connsiteX12" fmla="*/ 5838 w 10000"/>
                <a:gd name="connsiteY12" fmla="*/ 298 h 10022"/>
                <a:gd name="connsiteX13" fmla="*/ 5881 w 10000"/>
                <a:gd name="connsiteY13" fmla="*/ 0 h 10022"/>
                <a:gd name="connsiteX14" fmla="*/ 5081 w 10000"/>
                <a:gd name="connsiteY14" fmla="*/ 188 h 10022"/>
                <a:gd name="connsiteX15" fmla="*/ 4440 w 10000"/>
                <a:gd name="connsiteY15" fmla="*/ 266 h 10022"/>
                <a:gd name="connsiteX16" fmla="*/ 4382 w 10000"/>
                <a:gd name="connsiteY16" fmla="*/ 266 h 10022"/>
                <a:gd name="connsiteX17" fmla="*/ 4382 w 10000"/>
                <a:gd name="connsiteY17" fmla="*/ 266 h 10022"/>
                <a:gd name="connsiteX18" fmla="*/ 2256 w 10000"/>
                <a:gd name="connsiteY18" fmla="*/ 659 h 10022"/>
                <a:gd name="connsiteX19" fmla="*/ 3127 w 10000"/>
                <a:gd name="connsiteY19" fmla="*/ 1666 h 10022"/>
                <a:gd name="connsiteX20" fmla="*/ 3324 w 10000"/>
                <a:gd name="connsiteY20" fmla="*/ 2342 h 10022"/>
                <a:gd name="connsiteX21" fmla="*/ 3161 w 10000"/>
                <a:gd name="connsiteY21" fmla="*/ 3160 h 10022"/>
                <a:gd name="connsiteX22" fmla="*/ 0 w 10000"/>
                <a:gd name="connsiteY22" fmla="*/ 9963 h 10022"/>
                <a:gd name="connsiteX23" fmla="*/ 172 w 10000"/>
                <a:gd name="connsiteY23" fmla="*/ 9979 h 10022"/>
                <a:gd name="connsiteX24" fmla="*/ 258 w 10000"/>
                <a:gd name="connsiteY24" fmla="*/ 9994 h 10022"/>
                <a:gd name="connsiteX25" fmla="*/ 272 w 10000"/>
                <a:gd name="connsiteY25" fmla="*/ 9994 h 10022"/>
                <a:gd name="connsiteX26" fmla="*/ 329 w 10000"/>
                <a:gd name="connsiteY26" fmla="*/ 9602 h 10022"/>
                <a:gd name="connsiteX27" fmla="*/ 343 w 10000"/>
                <a:gd name="connsiteY27" fmla="*/ 9571 h 10022"/>
                <a:gd name="connsiteX28" fmla="*/ 587 w 10000"/>
                <a:gd name="connsiteY28" fmla="*/ 9194 h 10022"/>
                <a:gd name="connsiteX29" fmla="*/ 887 w 10000"/>
                <a:gd name="connsiteY29" fmla="*/ 9492 h 10022"/>
                <a:gd name="connsiteX30" fmla="*/ 1385 w 10000"/>
                <a:gd name="connsiteY30" fmla="*/ 9994 h 10022"/>
                <a:gd name="connsiteX31" fmla="*/ 1585 w 10000"/>
                <a:gd name="connsiteY31" fmla="*/ 9947 h 10022"/>
                <a:gd name="connsiteX32" fmla="*/ 1628 w 10000"/>
                <a:gd name="connsiteY32" fmla="*/ 9602 h 10022"/>
                <a:gd name="connsiteX33" fmla="*/ 958 w 10000"/>
                <a:gd name="connsiteY33" fmla="*/ 9022 h 10022"/>
                <a:gd name="connsiteX34" fmla="*/ 2556 w 10000"/>
                <a:gd name="connsiteY34" fmla="*/ 8472 h 10022"/>
                <a:gd name="connsiteX35" fmla="*/ 2940 w 10000"/>
                <a:gd name="connsiteY35" fmla="*/ 8441 h 10022"/>
                <a:gd name="connsiteX36" fmla="*/ 4953 w 10000"/>
                <a:gd name="connsiteY36" fmla="*/ 8331 h 10022"/>
                <a:gd name="connsiteX37" fmla="*/ 5624 w 10000"/>
                <a:gd name="connsiteY37" fmla="*/ 8300 h 10022"/>
                <a:gd name="connsiteX38" fmla="*/ 6124 w 10000"/>
                <a:gd name="connsiteY38" fmla="*/ 8300 h 10022"/>
                <a:gd name="connsiteX39" fmla="*/ 7179 w 10000"/>
                <a:gd name="connsiteY39" fmla="*/ 8205 h 10022"/>
                <a:gd name="connsiteX40" fmla="*/ 8592 w 10000"/>
                <a:gd name="connsiteY40" fmla="*/ 8080 h 10022"/>
                <a:gd name="connsiteX41" fmla="*/ 8921 w 10000"/>
                <a:gd name="connsiteY41" fmla="*/ 8268 h 10022"/>
                <a:gd name="connsiteX42" fmla="*/ 9106 w 10000"/>
                <a:gd name="connsiteY42" fmla="*/ 8362 h 10022"/>
                <a:gd name="connsiteX43" fmla="*/ 9106 w 10000"/>
                <a:gd name="connsiteY43" fmla="*/ 8268 h 10022"/>
                <a:gd name="connsiteX44" fmla="*/ 8963 w 10000"/>
                <a:gd name="connsiteY44" fmla="*/ 7861 h 10022"/>
                <a:gd name="connsiteX45" fmla="*/ 8906 w 10000"/>
                <a:gd name="connsiteY45" fmla="*/ 7547 h 10022"/>
                <a:gd name="connsiteX46" fmla="*/ 9006 w 10000"/>
                <a:gd name="connsiteY46" fmla="*/ 7499 h 10022"/>
                <a:gd name="connsiteX47" fmla="*/ 9706 w 10000"/>
                <a:gd name="connsiteY47" fmla="*/ 7499 h 10022"/>
                <a:gd name="connsiteX48" fmla="*/ 9706 w 10000"/>
                <a:gd name="connsiteY48" fmla="*/ 7248 h 10022"/>
                <a:gd name="connsiteX49" fmla="*/ 9649 w 10000"/>
                <a:gd name="connsiteY49" fmla="*/ 6872 h 10022"/>
                <a:gd name="connsiteX50" fmla="*/ 9620 w 10000"/>
                <a:gd name="connsiteY50" fmla="*/ 6794 h 10022"/>
                <a:gd name="connsiteX51" fmla="*/ 9563 w 10000"/>
                <a:gd name="connsiteY51" fmla="*/ 6684 h 10022"/>
                <a:gd name="connsiteX52" fmla="*/ 9577 w 10000"/>
                <a:gd name="connsiteY52" fmla="*/ 6448 h 10022"/>
                <a:gd name="connsiteX53" fmla="*/ 9635 w 10000"/>
                <a:gd name="connsiteY53" fmla="*/ 6213 h 10022"/>
                <a:gd name="connsiteX54" fmla="*/ 9649 w 10000"/>
                <a:gd name="connsiteY54" fmla="*/ 6072 h 10022"/>
                <a:gd name="connsiteX55" fmla="*/ 9819 w 10000"/>
                <a:gd name="connsiteY55" fmla="*/ 5805 h 10022"/>
                <a:gd name="connsiteX56" fmla="*/ 9876 w 10000"/>
                <a:gd name="connsiteY56" fmla="*/ 5743 h 10022"/>
                <a:gd name="connsiteX57" fmla="*/ 9890 w 10000"/>
                <a:gd name="connsiteY57" fmla="*/ 5711 h 10022"/>
                <a:gd name="connsiteX58" fmla="*/ 9776 w 10000"/>
                <a:gd name="connsiteY58" fmla="*/ 5617 h 10022"/>
                <a:gd name="connsiteX59" fmla="*/ 9677 w 10000"/>
                <a:gd name="connsiteY59" fmla="*/ 5491 h 10022"/>
                <a:gd name="connsiteX60" fmla="*/ 9876 w 10000"/>
                <a:gd name="connsiteY60" fmla="*/ 5146 h 10022"/>
                <a:gd name="connsiteX61" fmla="*/ 9961 w 10000"/>
                <a:gd name="connsiteY61" fmla="*/ 4566 h 10022"/>
                <a:gd name="connsiteX62" fmla="*/ 9948 w 10000"/>
                <a:gd name="connsiteY62" fmla="*/ 4455 h 10022"/>
                <a:gd name="connsiteX0" fmla="*/ 9948 w 10000"/>
                <a:gd name="connsiteY0" fmla="*/ 4455 h 10000"/>
                <a:gd name="connsiteX1" fmla="*/ 9934 w 10000"/>
                <a:gd name="connsiteY1" fmla="*/ 4408 h 10000"/>
                <a:gd name="connsiteX2" fmla="*/ 9363 w 10000"/>
                <a:gd name="connsiteY2" fmla="*/ 3875 h 10000"/>
                <a:gd name="connsiteX3" fmla="*/ 9220 w 10000"/>
                <a:gd name="connsiteY3" fmla="*/ 3766 h 10000"/>
                <a:gd name="connsiteX4" fmla="*/ 9163 w 10000"/>
                <a:gd name="connsiteY4" fmla="*/ 3719 h 10000"/>
                <a:gd name="connsiteX5" fmla="*/ 8992 w 10000"/>
                <a:gd name="connsiteY5" fmla="*/ 3389 h 10000"/>
                <a:gd name="connsiteX6" fmla="*/ 8563 w 10000"/>
                <a:gd name="connsiteY6" fmla="*/ 2652 h 10000"/>
                <a:gd name="connsiteX7" fmla="*/ 8150 w 10000"/>
                <a:gd name="connsiteY7" fmla="*/ 2384 h 10000"/>
                <a:gd name="connsiteX8" fmla="*/ 7963 w 10000"/>
                <a:gd name="connsiteY8" fmla="*/ 2275 h 10000"/>
                <a:gd name="connsiteX9" fmla="*/ 7422 w 10000"/>
                <a:gd name="connsiteY9" fmla="*/ 1742 h 10000"/>
                <a:gd name="connsiteX10" fmla="*/ 6722 w 10000"/>
                <a:gd name="connsiteY10" fmla="*/ 941 h 10000"/>
                <a:gd name="connsiteX11" fmla="*/ 6167 w 10000"/>
                <a:gd name="connsiteY11" fmla="*/ 769 h 10000"/>
                <a:gd name="connsiteX12" fmla="*/ 5838 w 10000"/>
                <a:gd name="connsiteY12" fmla="*/ 298 h 10000"/>
                <a:gd name="connsiteX13" fmla="*/ 5881 w 10000"/>
                <a:gd name="connsiteY13" fmla="*/ 0 h 10000"/>
                <a:gd name="connsiteX14" fmla="*/ 5081 w 10000"/>
                <a:gd name="connsiteY14" fmla="*/ 188 h 10000"/>
                <a:gd name="connsiteX15" fmla="*/ 4440 w 10000"/>
                <a:gd name="connsiteY15" fmla="*/ 266 h 10000"/>
                <a:gd name="connsiteX16" fmla="*/ 4382 w 10000"/>
                <a:gd name="connsiteY16" fmla="*/ 266 h 10000"/>
                <a:gd name="connsiteX17" fmla="*/ 4382 w 10000"/>
                <a:gd name="connsiteY17" fmla="*/ 266 h 10000"/>
                <a:gd name="connsiteX18" fmla="*/ 2256 w 10000"/>
                <a:gd name="connsiteY18" fmla="*/ 659 h 10000"/>
                <a:gd name="connsiteX19" fmla="*/ 3127 w 10000"/>
                <a:gd name="connsiteY19" fmla="*/ 1666 h 10000"/>
                <a:gd name="connsiteX20" fmla="*/ 3324 w 10000"/>
                <a:gd name="connsiteY20" fmla="*/ 2342 h 10000"/>
                <a:gd name="connsiteX21" fmla="*/ 3161 w 10000"/>
                <a:gd name="connsiteY21" fmla="*/ 3160 h 10000"/>
                <a:gd name="connsiteX22" fmla="*/ 0 w 10000"/>
                <a:gd name="connsiteY22" fmla="*/ 9963 h 10000"/>
                <a:gd name="connsiteX23" fmla="*/ 172 w 10000"/>
                <a:gd name="connsiteY23" fmla="*/ 9979 h 10000"/>
                <a:gd name="connsiteX24" fmla="*/ 258 w 10000"/>
                <a:gd name="connsiteY24" fmla="*/ 9994 h 10000"/>
                <a:gd name="connsiteX25" fmla="*/ 329 w 10000"/>
                <a:gd name="connsiteY25" fmla="*/ 9602 h 10000"/>
                <a:gd name="connsiteX26" fmla="*/ 343 w 10000"/>
                <a:gd name="connsiteY26" fmla="*/ 9571 h 10000"/>
                <a:gd name="connsiteX27" fmla="*/ 587 w 10000"/>
                <a:gd name="connsiteY27" fmla="*/ 9194 h 10000"/>
                <a:gd name="connsiteX28" fmla="*/ 887 w 10000"/>
                <a:gd name="connsiteY28" fmla="*/ 9492 h 10000"/>
                <a:gd name="connsiteX29" fmla="*/ 1385 w 10000"/>
                <a:gd name="connsiteY29" fmla="*/ 9994 h 10000"/>
                <a:gd name="connsiteX30" fmla="*/ 1585 w 10000"/>
                <a:gd name="connsiteY30" fmla="*/ 9947 h 10000"/>
                <a:gd name="connsiteX31" fmla="*/ 1628 w 10000"/>
                <a:gd name="connsiteY31" fmla="*/ 9602 h 10000"/>
                <a:gd name="connsiteX32" fmla="*/ 958 w 10000"/>
                <a:gd name="connsiteY32" fmla="*/ 9022 h 10000"/>
                <a:gd name="connsiteX33" fmla="*/ 2556 w 10000"/>
                <a:gd name="connsiteY33" fmla="*/ 8472 h 10000"/>
                <a:gd name="connsiteX34" fmla="*/ 2940 w 10000"/>
                <a:gd name="connsiteY34" fmla="*/ 8441 h 10000"/>
                <a:gd name="connsiteX35" fmla="*/ 4953 w 10000"/>
                <a:gd name="connsiteY35" fmla="*/ 8331 h 10000"/>
                <a:gd name="connsiteX36" fmla="*/ 5624 w 10000"/>
                <a:gd name="connsiteY36" fmla="*/ 8300 h 10000"/>
                <a:gd name="connsiteX37" fmla="*/ 6124 w 10000"/>
                <a:gd name="connsiteY37" fmla="*/ 8300 h 10000"/>
                <a:gd name="connsiteX38" fmla="*/ 7179 w 10000"/>
                <a:gd name="connsiteY38" fmla="*/ 8205 h 10000"/>
                <a:gd name="connsiteX39" fmla="*/ 8592 w 10000"/>
                <a:gd name="connsiteY39" fmla="*/ 8080 h 10000"/>
                <a:gd name="connsiteX40" fmla="*/ 8921 w 10000"/>
                <a:gd name="connsiteY40" fmla="*/ 8268 h 10000"/>
                <a:gd name="connsiteX41" fmla="*/ 9106 w 10000"/>
                <a:gd name="connsiteY41" fmla="*/ 8362 h 10000"/>
                <a:gd name="connsiteX42" fmla="*/ 9106 w 10000"/>
                <a:gd name="connsiteY42" fmla="*/ 8268 h 10000"/>
                <a:gd name="connsiteX43" fmla="*/ 8963 w 10000"/>
                <a:gd name="connsiteY43" fmla="*/ 7861 h 10000"/>
                <a:gd name="connsiteX44" fmla="*/ 8906 w 10000"/>
                <a:gd name="connsiteY44" fmla="*/ 7547 h 10000"/>
                <a:gd name="connsiteX45" fmla="*/ 9006 w 10000"/>
                <a:gd name="connsiteY45" fmla="*/ 7499 h 10000"/>
                <a:gd name="connsiteX46" fmla="*/ 9706 w 10000"/>
                <a:gd name="connsiteY46" fmla="*/ 7499 h 10000"/>
                <a:gd name="connsiteX47" fmla="*/ 9706 w 10000"/>
                <a:gd name="connsiteY47" fmla="*/ 7248 h 10000"/>
                <a:gd name="connsiteX48" fmla="*/ 9649 w 10000"/>
                <a:gd name="connsiteY48" fmla="*/ 6872 h 10000"/>
                <a:gd name="connsiteX49" fmla="*/ 9620 w 10000"/>
                <a:gd name="connsiteY49" fmla="*/ 6794 h 10000"/>
                <a:gd name="connsiteX50" fmla="*/ 9563 w 10000"/>
                <a:gd name="connsiteY50" fmla="*/ 6684 h 10000"/>
                <a:gd name="connsiteX51" fmla="*/ 9577 w 10000"/>
                <a:gd name="connsiteY51" fmla="*/ 6448 h 10000"/>
                <a:gd name="connsiteX52" fmla="*/ 9635 w 10000"/>
                <a:gd name="connsiteY52" fmla="*/ 6213 h 10000"/>
                <a:gd name="connsiteX53" fmla="*/ 9649 w 10000"/>
                <a:gd name="connsiteY53" fmla="*/ 6072 h 10000"/>
                <a:gd name="connsiteX54" fmla="*/ 9819 w 10000"/>
                <a:gd name="connsiteY54" fmla="*/ 5805 h 10000"/>
                <a:gd name="connsiteX55" fmla="*/ 9876 w 10000"/>
                <a:gd name="connsiteY55" fmla="*/ 5743 h 10000"/>
                <a:gd name="connsiteX56" fmla="*/ 9890 w 10000"/>
                <a:gd name="connsiteY56" fmla="*/ 5711 h 10000"/>
                <a:gd name="connsiteX57" fmla="*/ 9776 w 10000"/>
                <a:gd name="connsiteY57" fmla="*/ 5617 h 10000"/>
                <a:gd name="connsiteX58" fmla="*/ 9677 w 10000"/>
                <a:gd name="connsiteY58" fmla="*/ 5491 h 10000"/>
                <a:gd name="connsiteX59" fmla="*/ 9876 w 10000"/>
                <a:gd name="connsiteY59" fmla="*/ 5146 h 10000"/>
                <a:gd name="connsiteX60" fmla="*/ 9961 w 10000"/>
                <a:gd name="connsiteY60" fmla="*/ 4566 h 10000"/>
                <a:gd name="connsiteX61" fmla="*/ 9948 w 10000"/>
                <a:gd name="connsiteY61" fmla="*/ 4455 h 10000"/>
                <a:gd name="connsiteX0" fmla="*/ 9948 w 10000"/>
                <a:gd name="connsiteY0" fmla="*/ 4455 h 10000"/>
                <a:gd name="connsiteX1" fmla="*/ 9934 w 10000"/>
                <a:gd name="connsiteY1" fmla="*/ 4408 h 10000"/>
                <a:gd name="connsiteX2" fmla="*/ 9363 w 10000"/>
                <a:gd name="connsiteY2" fmla="*/ 3875 h 10000"/>
                <a:gd name="connsiteX3" fmla="*/ 9220 w 10000"/>
                <a:gd name="connsiteY3" fmla="*/ 3766 h 10000"/>
                <a:gd name="connsiteX4" fmla="*/ 9163 w 10000"/>
                <a:gd name="connsiteY4" fmla="*/ 3719 h 10000"/>
                <a:gd name="connsiteX5" fmla="*/ 8992 w 10000"/>
                <a:gd name="connsiteY5" fmla="*/ 3389 h 10000"/>
                <a:gd name="connsiteX6" fmla="*/ 8563 w 10000"/>
                <a:gd name="connsiteY6" fmla="*/ 2652 h 10000"/>
                <a:gd name="connsiteX7" fmla="*/ 8150 w 10000"/>
                <a:gd name="connsiteY7" fmla="*/ 2384 h 10000"/>
                <a:gd name="connsiteX8" fmla="*/ 7963 w 10000"/>
                <a:gd name="connsiteY8" fmla="*/ 2275 h 10000"/>
                <a:gd name="connsiteX9" fmla="*/ 7422 w 10000"/>
                <a:gd name="connsiteY9" fmla="*/ 1742 h 10000"/>
                <a:gd name="connsiteX10" fmla="*/ 6722 w 10000"/>
                <a:gd name="connsiteY10" fmla="*/ 941 h 10000"/>
                <a:gd name="connsiteX11" fmla="*/ 6167 w 10000"/>
                <a:gd name="connsiteY11" fmla="*/ 769 h 10000"/>
                <a:gd name="connsiteX12" fmla="*/ 5838 w 10000"/>
                <a:gd name="connsiteY12" fmla="*/ 298 h 10000"/>
                <a:gd name="connsiteX13" fmla="*/ 5881 w 10000"/>
                <a:gd name="connsiteY13" fmla="*/ 0 h 10000"/>
                <a:gd name="connsiteX14" fmla="*/ 5081 w 10000"/>
                <a:gd name="connsiteY14" fmla="*/ 188 h 10000"/>
                <a:gd name="connsiteX15" fmla="*/ 4440 w 10000"/>
                <a:gd name="connsiteY15" fmla="*/ 266 h 10000"/>
                <a:gd name="connsiteX16" fmla="*/ 4382 w 10000"/>
                <a:gd name="connsiteY16" fmla="*/ 266 h 10000"/>
                <a:gd name="connsiteX17" fmla="*/ 4382 w 10000"/>
                <a:gd name="connsiteY17" fmla="*/ 266 h 10000"/>
                <a:gd name="connsiteX18" fmla="*/ 2256 w 10000"/>
                <a:gd name="connsiteY18" fmla="*/ 659 h 10000"/>
                <a:gd name="connsiteX19" fmla="*/ 3127 w 10000"/>
                <a:gd name="connsiteY19" fmla="*/ 1666 h 10000"/>
                <a:gd name="connsiteX20" fmla="*/ 3324 w 10000"/>
                <a:gd name="connsiteY20" fmla="*/ 2342 h 10000"/>
                <a:gd name="connsiteX21" fmla="*/ 3161 w 10000"/>
                <a:gd name="connsiteY21" fmla="*/ 3160 h 10000"/>
                <a:gd name="connsiteX22" fmla="*/ 0 w 10000"/>
                <a:gd name="connsiteY22" fmla="*/ 9963 h 10000"/>
                <a:gd name="connsiteX23" fmla="*/ 172 w 10000"/>
                <a:gd name="connsiteY23" fmla="*/ 9979 h 10000"/>
                <a:gd name="connsiteX24" fmla="*/ 329 w 10000"/>
                <a:gd name="connsiteY24" fmla="*/ 9602 h 10000"/>
                <a:gd name="connsiteX25" fmla="*/ 343 w 10000"/>
                <a:gd name="connsiteY25" fmla="*/ 9571 h 10000"/>
                <a:gd name="connsiteX26" fmla="*/ 587 w 10000"/>
                <a:gd name="connsiteY26" fmla="*/ 9194 h 10000"/>
                <a:gd name="connsiteX27" fmla="*/ 887 w 10000"/>
                <a:gd name="connsiteY27" fmla="*/ 9492 h 10000"/>
                <a:gd name="connsiteX28" fmla="*/ 1385 w 10000"/>
                <a:gd name="connsiteY28" fmla="*/ 9994 h 10000"/>
                <a:gd name="connsiteX29" fmla="*/ 1585 w 10000"/>
                <a:gd name="connsiteY29" fmla="*/ 9947 h 10000"/>
                <a:gd name="connsiteX30" fmla="*/ 1628 w 10000"/>
                <a:gd name="connsiteY30" fmla="*/ 9602 h 10000"/>
                <a:gd name="connsiteX31" fmla="*/ 958 w 10000"/>
                <a:gd name="connsiteY31" fmla="*/ 9022 h 10000"/>
                <a:gd name="connsiteX32" fmla="*/ 2556 w 10000"/>
                <a:gd name="connsiteY32" fmla="*/ 8472 h 10000"/>
                <a:gd name="connsiteX33" fmla="*/ 2940 w 10000"/>
                <a:gd name="connsiteY33" fmla="*/ 8441 h 10000"/>
                <a:gd name="connsiteX34" fmla="*/ 4953 w 10000"/>
                <a:gd name="connsiteY34" fmla="*/ 8331 h 10000"/>
                <a:gd name="connsiteX35" fmla="*/ 5624 w 10000"/>
                <a:gd name="connsiteY35" fmla="*/ 8300 h 10000"/>
                <a:gd name="connsiteX36" fmla="*/ 6124 w 10000"/>
                <a:gd name="connsiteY36" fmla="*/ 8300 h 10000"/>
                <a:gd name="connsiteX37" fmla="*/ 7179 w 10000"/>
                <a:gd name="connsiteY37" fmla="*/ 8205 h 10000"/>
                <a:gd name="connsiteX38" fmla="*/ 8592 w 10000"/>
                <a:gd name="connsiteY38" fmla="*/ 8080 h 10000"/>
                <a:gd name="connsiteX39" fmla="*/ 8921 w 10000"/>
                <a:gd name="connsiteY39" fmla="*/ 8268 h 10000"/>
                <a:gd name="connsiteX40" fmla="*/ 9106 w 10000"/>
                <a:gd name="connsiteY40" fmla="*/ 8362 h 10000"/>
                <a:gd name="connsiteX41" fmla="*/ 9106 w 10000"/>
                <a:gd name="connsiteY41" fmla="*/ 8268 h 10000"/>
                <a:gd name="connsiteX42" fmla="*/ 8963 w 10000"/>
                <a:gd name="connsiteY42" fmla="*/ 7861 h 10000"/>
                <a:gd name="connsiteX43" fmla="*/ 8906 w 10000"/>
                <a:gd name="connsiteY43" fmla="*/ 7547 h 10000"/>
                <a:gd name="connsiteX44" fmla="*/ 9006 w 10000"/>
                <a:gd name="connsiteY44" fmla="*/ 7499 h 10000"/>
                <a:gd name="connsiteX45" fmla="*/ 9706 w 10000"/>
                <a:gd name="connsiteY45" fmla="*/ 7499 h 10000"/>
                <a:gd name="connsiteX46" fmla="*/ 9706 w 10000"/>
                <a:gd name="connsiteY46" fmla="*/ 7248 h 10000"/>
                <a:gd name="connsiteX47" fmla="*/ 9649 w 10000"/>
                <a:gd name="connsiteY47" fmla="*/ 6872 h 10000"/>
                <a:gd name="connsiteX48" fmla="*/ 9620 w 10000"/>
                <a:gd name="connsiteY48" fmla="*/ 6794 h 10000"/>
                <a:gd name="connsiteX49" fmla="*/ 9563 w 10000"/>
                <a:gd name="connsiteY49" fmla="*/ 6684 h 10000"/>
                <a:gd name="connsiteX50" fmla="*/ 9577 w 10000"/>
                <a:gd name="connsiteY50" fmla="*/ 6448 h 10000"/>
                <a:gd name="connsiteX51" fmla="*/ 9635 w 10000"/>
                <a:gd name="connsiteY51" fmla="*/ 6213 h 10000"/>
                <a:gd name="connsiteX52" fmla="*/ 9649 w 10000"/>
                <a:gd name="connsiteY52" fmla="*/ 6072 h 10000"/>
                <a:gd name="connsiteX53" fmla="*/ 9819 w 10000"/>
                <a:gd name="connsiteY53" fmla="*/ 5805 h 10000"/>
                <a:gd name="connsiteX54" fmla="*/ 9876 w 10000"/>
                <a:gd name="connsiteY54" fmla="*/ 5743 h 10000"/>
                <a:gd name="connsiteX55" fmla="*/ 9890 w 10000"/>
                <a:gd name="connsiteY55" fmla="*/ 5711 h 10000"/>
                <a:gd name="connsiteX56" fmla="*/ 9776 w 10000"/>
                <a:gd name="connsiteY56" fmla="*/ 5617 h 10000"/>
                <a:gd name="connsiteX57" fmla="*/ 9677 w 10000"/>
                <a:gd name="connsiteY57" fmla="*/ 5491 h 10000"/>
                <a:gd name="connsiteX58" fmla="*/ 9876 w 10000"/>
                <a:gd name="connsiteY58" fmla="*/ 5146 h 10000"/>
                <a:gd name="connsiteX59" fmla="*/ 9961 w 10000"/>
                <a:gd name="connsiteY59" fmla="*/ 4566 h 10000"/>
                <a:gd name="connsiteX60" fmla="*/ 9948 w 10000"/>
                <a:gd name="connsiteY60" fmla="*/ 4455 h 10000"/>
                <a:gd name="connsiteX0" fmla="*/ 10104 w 10156"/>
                <a:gd name="connsiteY0" fmla="*/ 4455 h 10372"/>
                <a:gd name="connsiteX1" fmla="*/ 10090 w 10156"/>
                <a:gd name="connsiteY1" fmla="*/ 4408 h 10372"/>
                <a:gd name="connsiteX2" fmla="*/ 9519 w 10156"/>
                <a:gd name="connsiteY2" fmla="*/ 3875 h 10372"/>
                <a:gd name="connsiteX3" fmla="*/ 9376 w 10156"/>
                <a:gd name="connsiteY3" fmla="*/ 3766 h 10372"/>
                <a:gd name="connsiteX4" fmla="*/ 9319 w 10156"/>
                <a:gd name="connsiteY4" fmla="*/ 3719 h 10372"/>
                <a:gd name="connsiteX5" fmla="*/ 9148 w 10156"/>
                <a:gd name="connsiteY5" fmla="*/ 3389 h 10372"/>
                <a:gd name="connsiteX6" fmla="*/ 8719 w 10156"/>
                <a:gd name="connsiteY6" fmla="*/ 2652 h 10372"/>
                <a:gd name="connsiteX7" fmla="*/ 8306 w 10156"/>
                <a:gd name="connsiteY7" fmla="*/ 2384 h 10372"/>
                <a:gd name="connsiteX8" fmla="*/ 8119 w 10156"/>
                <a:gd name="connsiteY8" fmla="*/ 2275 h 10372"/>
                <a:gd name="connsiteX9" fmla="*/ 7578 w 10156"/>
                <a:gd name="connsiteY9" fmla="*/ 1742 h 10372"/>
                <a:gd name="connsiteX10" fmla="*/ 6878 w 10156"/>
                <a:gd name="connsiteY10" fmla="*/ 941 h 10372"/>
                <a:gd name="connsiteX11" fmla="*/ 6323 w 10156"/>
                <a:gd name="connsiteY11" fmla="*/ 769 h 10372"/>
                <a:gd name="connsiteX12" fmla="*/ 5994 w 10156"/>
                <a:gd name="connsiteY12" fmla="*/ 298 h 10372"/>
                <a:gd name="connsiteX13" fmla="*/ 6037 w 10156"/>
                <a:gd name="connsiteY13" fmla="*/ 0 h 10372"/>
                <a:gd name="connsiteX14" fmla="*/ 5237 w 10156"/>
                <a:gd name="connsiteY14" fmla="*/ 188 h 10372"/>
                <a:gd name="connsiteX15" fmla="*/ 4596 w 10156"/>
                <a:gd name="connsiteY15" fmla="*/ 266 h 10372"/>
                <a:gd name="connsiteX16" fmla="*/ 4538 w 10156"/>
                <a:gd name="connsiteY16" fmla="*/ 266 h 10372"/>
                <a:gd name="connsiteX17" fmla="*/ 4538 w 10156"/>
                <a:gd name="connsiteY17" fmla="*/ 266 h 10372"/>
                <a:gd name="connsiteX18" fmla="*/ 2412 w 10156"/>
                <a:gd name="connsiteY18" fmla="*/ 659 h 10372"/>
                <a:gd name="connsiteX19" fmla="*/ 3283 w 10156"/>
                <a:gd name="connsiteY19" fmla="*/ 1666 h 10372"/>
                <a:gd name="connsiteX20" fmla="*/ 3480 w 10156"/>
                <a:gd name="connsiteY20" fmla="*/ 2342 h 10372"/>
                <a:gd name="connsiteX21" fmla="*/ 3317 w 10156"/>
                <a:gd name="connsiteY21" fmla="*/ 3160 h 10372"/>
                <a:gd name="connsiteX22" fmla="*/ 156 w 10156"/>
                <a:gd name="connsiteY22" fmla="*/ 9963 h 10372"/>
                <a:gd name="connsiteX23" fmla="*/ 485 w 10156"/>
                <a:gd name="connsiteY23" fmla="*/ 9602 h 10372"/>
                <a:gd name="connsiteX24" fmla="*/ 499 w 10156"/>
                <a:gd name="connsiteY24" fmla="*/ 9571 h 10372"/>
                <a:gd name="connsiteX25" fmla="*/ 743 w 10156"/>
                <a:gd name="connsiteY25" fmla="*/ 9194 h 10372"/>
                <a:gd name="connsiteX26" fmla="*/ 1043 w 10156"/>
                <a:gd name="connsiteY26" fmla="*/ 9492 h 10372"/>
                <a:gd name="connsiteX27" fmla="*/ 1541 w 10156"/>
                <a:gd name="connsiteY27" fmla="*/ 9994 h 10372"/>
                <a:gd name="connsiteX28" fmla="*/ 1741 w 10156"/>
                <a:gd name="connsiteY28" fmla="*/ 9947 h 10372"/>
                <a:gd name="connsiteX29" fmla="*/ 1784 w 10156"/>
                <a:gd name="connsiteY29" fmla="*/ 9602 h 10372"/>
                <a:gd name="connsiteX30" fmla="*/ 1114 w 10156"/>
                <a:gd name="connsiteY30" fmla="*/ 9022 h 10372"/>
                <a:gd name="connsiteX31" fmla="*/ 2712 w 10156"/>
                <a:gd name="connsiteY31" fmla="*/ 8472 h 10372"/>
                <a:gd name="connsiteX32" fmla="*/ 3096 w 10156"/>
                <a:gd name="connsiteY32" fmla="*/ 8441 h 10372"/>
                <a:gd name="connsiteX33" fmla="*/ 5109 w 10156"/>
                <a:gd name="connsiteY33" fmla="*/ 8331 h 10372"/>
                <a:gd name="connsiteX34" fmla="*/ 5780 w 10156"/>
                <a:gd name="connsiteY34" fmla="*/ 8300 h 10372"/>
                <a:gd name="connsiteX35" fmla="*/ 6280 w 10156"/>
                <a:gd name="connsiteY35" fmla="*/ 8300 h 10372"/>
                <a:gd name="connsiteX36" fmla="*/ 7335 w 10156"/>
                <a:gd name="connsiteY36" fmla="*/ 8205 h 10372"/>
                <a:gd name="connsiteX37" fmla="*/ 8748 w 10156"/>
                <a:gd name="connsiteY37" fmla="*/ 8080 h 10372"/>
                <a:gd name="connsiteX38" fmla="*/ 9077 w 10156"/>
                <a:gd name="connsiteY38" fmla="*/ 8268 h 10372"/>
                <a:gd name="connsiteX39" fmla="*/ 9262 w 10156"/>
                <a:gd name="connsiteY39" fmla="*/ 8362 h 10372"/>
                <a:gd name="connsiteX40" fmla="*/ 9262 w 10156"/>
                <a:gd name="connsiteY40" fmla="*/ 8268 h 10372"/>
                <a:gd name="connsiteX41" fmla="*/ 9119 w 10156"/>
                <a:gd name="connsiteY41" fmla="*/ 7861 h 10372"/>
                <a:gd name="connsiteX42" fmla="*/ 9062 w 10156"/>
                <a:gd name="connsiteY42" fmla="*/ 7547 h 10372"/>
                <a:gd name="connsiteX43" fmla="*/ 9162 w 10156"/>
                <a:gd name="connsiteY43" fmla="*/ 7499 h 10372"/>
                <a:gd name="connsiteX44" fmla="*/ 9862 w 10156"/>
                <a:gd name="connsiteY44" fmla="*/ 7499 h 10372"/>
                <a:gd name="connsiteX45" fmla="*/ 9862 w 10156"/>
                <a:gd name="connsiteY45" fmla="*/ 7248 h 10372"/>
                <a:gd name="connsiteX46" fmla="*/ 9805 w 10156"/>
                <a:gd name="connsiteY46" fmla="*/ 6872 h 10372"/>
                <a:gd name="connsiteX47" fmla="*/ 9776 w 10156"/>
                <a:gd name="connsiteY47" fmla="*/ 6794 h 10372"/>
                <a:gd name="connsiteX48" fmla="*/ 9719 w 10156"/>
                <a:gd name="connsiteY48" fmla="*/ 6684 h 10372"/>
                <a:gd name="connsiteX49" fmla="*/ 9733 w 10156"/>
                <a:gd name="connsiteY49" fmla="*/ 6448 h 10372"/>
                <a:gd name="connsiteX50" fmla="*/ 9791 w 10156"/>
                <a:gd name="connsiteY50" fmla="*/ 6213 h 10372"/>
                <a:gd name="connsiteX51" fmla="*/ 9805 w 10156"/>
                <a:gd name="connsiteY51" fmla="*/ 6072 h 10372"/>
                <a:gd name="connsiteX52" fmla="*/ 9975 w 10156"/>
                <a:gd name="connsiteY52" fmla="*/ 5805 h 10372"/>
                <a:gd name="connsiteX53" fmla="*/ 10032 w 10156"/>
                <a:gd name="connsiteY53" fmla="*/ 5743 h 10372"/>
                <a:gd name="connsiteX54" fmla="*/ 10046 w 10156"/>
                <a:gd name="connsiteY54" fmla="*/ 5711 h 10372"/>
                <a:gd name="connsiteX55" fmla="*/ 9932 w 10156"/>
                <a:gd name="connsiteY55" fmla="*/ 5617 h 10372"/>
                <a:gd name="connsiteX56" fmla="*/ 9833 w 10156"/>
                <a:gd name="connsiteY56" fmla="*/ 5491 h 10372"/>
                <a:gd name="connsiteX57" fmla="*/ 10032 w 10156"/>
                <a:gd name="connsiteY57" fmla="*/ 5146 h 10372"/>
                <a:gd name="connsiteX58" fmla="*/ 10117 w 10156"/>
                <a:gd name="connsiteY58" fmla="*/ 4566 h 10372"/>
                <a:gd name="connsiteX59" fmla="*/ 10104 w 10156"/>
                <a:gd name="connsiteY59" fmla="*/ 4455 h 10372"/>
                <a:gd name="connsiteX0" fmla="*/ 9619 w 9671"/>
                <a:gd name="connsiteY0" fmla="*/ 4455 h 10000"/>
                <a:gd name="connsiteX1" fmla="*/ 9605 w 9671"/>
                <a:gd name="connsiteY1" fmla="*/ 4408 h 10000"/>
                <a:gd name="connsiteX2" fmla="*/ 9034 w 9671"/>
                <a:gd name="connsiteY2" fmla="*/ 3875 h 10000"/>
                <a:gd name="connsiteX3" fmla="*/ 8891 w 9671"/>
                <a:gd name="connsiteY3" fmla="*/ 3766 h 10000"/>
                <a:gd name="connsiteX4" fmla="*/ 8834 w 9671"/>
                <a:gd name="connsiteY4" fmla="*/ 3719 h 10000"/>
                <a:gd name="connsiteX5" fmla="*/ 8663 w 9671"/>
                <a:gd name="connsiteY5" fmla="*/ 3389 h 10000"/>
                <a:gd name="connsiteX6" fmla="*/ 8234 w 9671"/>
                <a:gd name="connsiteY6" fmla="*/ 2652 h 10000"/>
                <a:gd name="connsiteX7" fmla="*/ 7821 w 9671"/>
                <a:gd name="connsiteY7" fmla="*/ 2384 h 10000"/>
                <a:gd name="connsiteX8" fmla="*/ 7634 w 9671"/>
                <a:gd name="connsiteY8" fmla="*/ 2275 h 10000"/>
                <a:gd name="connsiteX9" fmla="*/ 7093 w 9671"/>
                <a:gd name="connsiteY9" fmla="*/ 1742 h 10000"/>
                <a:gd name="connsiteX10" fmla="*/ 6393 w 9671"/>
                <a:gd name="connsiteY10" fmla="*/ 941 h 10000"/>
                <a:gd name="connsiteX11" fmla="*/ 5838 w 9671"/>
                <a:gd name="connsiteY11" fmla="*/ 769 h 10000"/>
                <a:gd name="connsiteX12" fmla="*/ 5509 w 9671"/>
                <a:gd name="connsiteY12" fmla="*/ 298 h 10000"/>
                <a:gd name="connsiteX13" fmla="*/ 5552 w 9671"/>
                <a:gd name="connsiteY13" fmla="*/ 0 h 10000"/>
                <a:gd name="connsiteX14" fmla="*/ 4752 w 9671"/>
                <a:gd name="connsiteY14" fmla="*/ 188 h 10000"/>
                <a:gd name="connsiteX15" fmla="*/ 4111 w 9671"/>
                <a:gd name="connsiteY15" fmla="*/ 266 h 10000"/>
                <a:gd name="connsiteX16" fmla="*/ 4053 w 9671"/>
                <a:gd name="connsiteY16" fmla="*/ 266 h 10000"/>
                <a:gd name="connsiteX17" fmla="*/ 4053 w 9671"/>
                <a:gd name="connsiteY17" fmla="*/ 266 h 10000"/>
                <a:gd name="connsiteX18" fmla="*/ 1927 w 9671"/>
                <a:gd name="connsiteY18" fmla="*/ 659 h 10000"/>
                <a:gd name="connsiteX19" fmla="*/ 2798 w 9671"/>
                <a:gd name="connsiteY19" fmla="*/ 1666 h 10000"/>
                <a:gd name="connsiteX20" fmla="*/ 2995 w 9671"/>
                <a:gd name="connsiteY20" fmla="*/ 2342 h 10000"/>
                <a:gd name="connsiteX21" fmla="*/ 2832 w 9671"/>
                <a:gd name="connsiteY21" fmla="*/ 3160 h 10000"/>
                <a:gd name="connsiteX22" fmla="*/ 0 w 9671"/>
                <a:gd name="connsiteY22" fmla="*/ 9602 h 10000"/>
                <a:gd name="connsiteX23" fmla="*/ 14 w 9671"/>
                <a:gd name="connsiteY23" fmla="*/ 9571 h 10000"/>
                <a:gd name="connsiteX24" fmla="*/ 258 w 9671"/>
                <a:gd name="connsiteY24" fmla="*/ 9194 h 10000"/>
                <a:gd name="connsiteX25" fmla="*/ 558 w 9671"/>
                <a:gd name="connsiteY25" fmla="*/ 9492 h 10000"/>
                <a:gd name="connsiteX26" fmla="*/ 1056 w 9671"/>
                <a:gd name="connsiteY26" fmla="*/ 9994 h 10000"/>
                <a:gd name="connsiteX27" fmla="*/ 1256 w 9671"/>
                <a:gd name="connsiteY27" fmla="*/ 9947 h 10000"/>
                <a:gd name="connsiteX28" fmla="*/ 1299 w 9671"/>
                <a:gd name="connsiteY28" fmla="*/ 9602 h 10000"/>
                <a:gd name="connsiteX29" fmla="*/ 629 w 9671"/>
                <a:gd name="connsiteY29" fmla="*/ 9022 h 10000"/>
                <a:gd name="connsiteX30" fmla="*/ 2227 w 9671"/>
                <a:gd name="connsiteY30" fmla="*/ 8472 h 10000"/>
                <a:gd name="connsiteX31" fmla="*/ 2611 w 9671"/>
                <a:gd name="connsiteY31" fmla="*/ 8441 h 10000"/>
                <a:gd name="connsiteX32" fmla="*/ 4624 w 9671"/>
                <a:gd name="connsiteY32" fmla="*/ 8331 h 10000"/>
                <a:gd name="connsiteX33" fmla="*/ 5295 w 9671"/>
                <a:gd name="connsiteY33" fmla="*/ 8300 h 10000"/>
                <a:gd name="connsiteX34" fmla="*/ 5795 w 9671"/>
                <a:gd name="connsiteY34" fmla="*/ 8300 h 10000"/>
                <a:gd name="connsiteX35" fmla="*/ 6850 w 9671"/>
                <a:gd name="connsiteY35" fmla="*/ 8205 h 10000"/>
                <a:gd name="connsiteX36" fmla="*/ 8263 w 9671"/>
                <a:gd name="connsiteY36" fmla="*/ 8080 h 10000"/>
                <a:gd name="connsiteX37" fmla="*/ 8592 w 9671"/>
                <a:gd name="connsiteY37" fmla="*/ 8268 h 10000"/>
                <a:gd name="connsiteX38" fmla="*/ 8777 w 9671"/>
                <a:gd name="connsiteY38" fmla="*/ 8362 h 10000"/>
                <a:gd name="connsiteX39" fmla="*/ 8777 w 9671"/>
                <a:gd name="connsiteY39" fmla="*/ 8268 h 10000"/>
                <a:gd name="connsiteX40" fmla="*/ 8634 w 9671"/>
                <a:gd name="connsiteY40" fmla="*/ 7861 h 10000"/>
                <a:gd name="connsiteX41" fmla="*/ 8577 w 9671"/>
                <a:gd name="connsiteY41" fmla="*/ 7547 h 10000"/>
                <a:gd name="connsiteX42" fmla="*/ 8677 w 9671"/>
                <a:gd name="connsiteY42" fmla="*/ 7499 h 10000"/>
                <a:gd name="connsiteX43" fmla="*/ 9377 w 9671"/>
                <a:gd name="connsiteY43" fmla="*/ 7499 h 10000"/>
                <a:gd name="connsiteX44" fmla="*/ 9377 w 9671"/>
                <a:gd name="connsiteY44" fmla="*/ 7248 h 10000"/>
                <a:gd name="connsiteX45" fmla="*/ 9320 w 9671"/>
                <a:gd name="connsiteY45" fmla="*/ 6872 h 10000"/>
                <a:gd name="connsiteX46" fmla="*/ 9291 w 9671"/>
                <a:gd name="connsiteY46" fmla="*/ 6794 h 10000"/>
                <a:gd name="connsiteX47" fmla="*/ 9234 w 9671"/>
                <a:gd name="connsiteY47" fmla="*/ 6684 h 10000"/>
                <a:gd name="connsiteX48" fmla="*/ 9248 w 9671"/>
                <a:gd name="connsiteY48" fmla="*/ 6448 h 10000"/>
                <a:gd name="connsiteX49" fmla="*/ 9306 w 9671"/>
                <a:gd name="connsiteY49" fmla="*/ 6213 h 10000"/>
                <a:gd name="connsiteX50" fmla="*/ 9320 w 9671"/>
                <a:gd name="connsiteY50" fmla="*/ 6072 h 10000"/>
                <a:gd name="connsiteX51" fmla="*/ 9490 w 9671"/>
                <a:gd name="connsiteY51" fmla="*/ 5805 h 10000"/>
                <a:gd name="connsiteX52" fmla="*/ 9547 w 9671"/>
                <a:gd name="connsiteY52" fmla="*/ 5743 h 10000"/>
                <a:gd name="connsiteX53" fmla="*/ 9561 w 9671"/>
                <a:gd name="connsiteY53" fmla="*/ 5711 h 10000"/>
                <a:gd name="connsiteX54" fmla="*/ 9447 w 9671"/>
                <a:gd name="connsiteY54" fmla="*/ 5617 h 10000"/>
                <a:gd name="connsiteX55" fmla="*/ 9348 w 9671"/>
                <a:gd name="connsiteY55" fmla="*/ 5491 h 10000"/>
                <a:gd name="connsiteX56" fmla="*/ 9547 w 9671"/>
                <a:gd name="connsiteY56" fmla="*/ 5146 h 10000"/>
                <a:gd name="connsiteX57" fmla="*/ 9632 w 9671"/>
                <a:gd name="connsiteY57" fmla="*/ 4566 h 10000"/>
                <a:gd name="connsiteX58" fmla="*/ 9619 w 9671"/>
                <a:gd name="connsiteY58" fmla="*/ 4455 h 10000"/>
                <a:gd name="connsiteX0" fmla="*/ 10104 w 10158"/>
                <a:gd name="connsiteY0" fmla="*/ 4455 h 10000"/>
                <a:gd name="connsiteX1" fmla="*/ 10090 w 10158"/>
                <a:gd name="connsiteY1" fmla="*/ 4408 h 10000"/>
                <a:gd name="connsiteX2" fmla="*/ 9499 w 10158"/>
                <a:gd name="connsiteY2" fmla="*/ 3875 h 10000"/>
                <a:gd name="connsiteX3" fmla="*/ 9351 w 10158"/>
                <a:gd name="connsiteY3" fmla="*/ 3766 h 10000"/>
                <a:gd name="connsiteX4" fmla="*/ 9293 w 10158"/>
                <a:gd name="connsiteY4" fmla="*/ 3719 h 10000"/>
                <a:gd name="connsiteX5" fmla="*/ 9116 w 10158"/>
                <a:gd name="connsiteY5" fmla="*/ 3389 h 10000"/>
                <a:gd name="connsiteX6" fmla="*/ 8672 w 10158"/>
                <a:gd name="connsiteY6" fmla="*/ 2652 h 10000"/>
                <a:gd name="connsiteX7" fmla="*/ 8245 w 10158"/>
                <a:gd name="connsiteY7" fmla="*/ 2384 h 10000"/>
                <a:gd name="connsiteX8" fmla="*/ 8052 w 10158"/>
                <a:gd name="connsiteY8" fmla="*/ 2275 h 10000"/>
                <a:gd name="connsiteX9" fmla="*/ 7492 w 10158"/>
                <a:gd name="connsiteY9" fmla="*/ 1742 h 10000"/>
                <a:gd name="connsiteX10" fmla="*/ 6768 w 10158"/>
                <a:gd name="connsiteY10" fmla="*/ 941 h 10000"/>
                <a:gd name="connsiteX11" fmla="*/ 6195 w 10158"/>
                <a:gd name="connsiteY11" fmla="*/ 769 h 10000"/>
                <a:gd name="connsiteX12" fmla="*/ 5854 w 10158"/>
                <a:gd name="connsiteY12" fmla="*/ 298 h 10000"/>
                <a:gd name="connsiteX13" fmla="*/ 5899 w 10158"/>
                <a:gd name="connsiteY13" fmla="*/ 0 h 10000"/>
                <a:gd name="connsiteX14" fmla="*/ 5072 w 10158"/>
                <a:gd name="connsiteY14" fmla="*/ 188 h 10000"/>
                <a:gd name="connsiteX15" fmla="*/ 4409 w 10158"/>
                <a:gd name="connsiteY15" fmla="*/ 266 h 10000"/>
                <a:gd name="connsiteX16" fmla="*/ 4349 w 10158"/>
                <a:gd name="connsiteY16" fmla="*/ 266 h 10000"/>
                <a:gd name="connsiteX17" fmla="*/ 4349 w 10158"/>
                <a:gd name="connsiteY17" fmla="*/ 266 h 10000"/>
                <a:gd name="connsiteX18" fmla="*/ 2151 w 10158"/>
                <a:gd name="connsiteY18" fmla="*/ 659 h 10000"/>
                <a:gd name="connsiteX19" fmla="*/ 3051 w 10158"/>
                <a:gd name="connsiteY19" fmla="*/ 1666 h 10000"/>
                <a:gd name="connsiteX20" fmla="*/ 3255 w 10158"/>
                <a:gd name="connsiteY20" fmla="*/ 2342 h 10000"/>
                <a:gd name="connsiteX21" fmla="*/ 3086 w 10158"/>
                <a:gd name="connsiteY21" fmla="*/ 3160 h 10000"/>
                <a:gd name="connsiteX22" fmla="*/ 158 w 10158"/>
                <a:gd name="connsiteY22" fmla="*/ 9602 h 10000"/>
                <a:gd name="connsiteX23" fmla="*/ 425 w 10158"/>
                <a:gd name="connsiteY23" fmla="*/ 9194 h 10000"/>
                <a:gd name="connsiteX24" fmla="*/ 735 w 10158"/>
                <a:gd name="connsiteY24" fmla="*/ 9492 h 10000"/>
                <a:gd name="connsiteX25" fmla="*/ 1250 w 10158"/>
                <a:gd name="connsiteY25" fmla="*/ 9994 h 10000"/>
                <a:gd name="connsiteX26" fmla="*/ 1457 w 10158"/>
                <a:gd name="connsiteY26" fmla="*/ 9947 h 10000"/>
                <a:gd name="connsiteX27" fmla="*/ 1501 w 10158"/>
                <a:gd name="connsiteY27" fmla="*/ 9602 h 10000"/>
                <a:gd name="connsiteX28" fmla="*/ 808 w 10158"/>
                <a:gd name="connsiteY28" fmla="*/ 9022 h 10000"/>
                <a:gd name="connsiteX29" fmla="*/ 2461 w 10158"/>
                <a:gd name="connsiteY29" fmla="*/ 8472 h 10000"/>
                <a:gd name="connsiteX30" fmla="*/ 2858 w 10158"/>
                <a:gd name="connsiteY30" fmla="*/ 8441 h 10000"/>
                <a:gd name="connsiteX31" fmla="*/ 4939 w 10158"/>
                <a:gd name="connsiteY31" fmla="*/ 8331 h 10000"/>
                <a:gd name="connsiteX32" fmla="*/ 5633 w 10158"/>
                <a:gd name="connsiteY32" fmla="*/ 8300 h 10000"/>
                <a:gd name="connsiteX33" fmla="*/ 6150 w 10158"/>
                <a:gd name="connsiteY33" fmla="*/ 8300 h 10000"/>
                <a:gd name="connsiteX34" fmla="*/ 7241 w 10158"/>
                <a:gd name="connsiteY34" fmla="*/ 8205 h 10000"/>
                <a:gd name="connsiteX35" fmla="*/ 8702 w 10158"/>
                <a:gd name="connsiteY35" fmla="*/ 8080 h 10000"/>
                <a:gd name="connsiteX36" fmla="*/ 9042 w 10158"/>
                <a:gd name="connsiteY36" fmla="*/ 8268 h 10000"/>
                <a:gd name="connsiteX37" fmla="*/ 9234 w 10158"/>
                <a:gd name="connsiteY37" fmla="*/ 8362 h 10000"/>
                <a:gd name="connsiteX38" fmla="*/ 9234 w 10158"/>
                <a:gd name="connsiteY38" fmla="*/ 8268 h 10000"/>
                <a:gd name="connsiteX39" fmla="*/ 9086 w 10158"/>
                <a:gd name="connsiteY39" fmla="*/ 7861 h 10000"/>
                <a:gd name="connsiteX40" fmla="*/ 9027 w 10158"/>
                <a:gd name="connsiteY40" fmla="*/ 7547 h 10000"/>
                <a:gd name="connsiteX41" fmla="*/ 9130 w 10158"/>
                <a:gd name="connsiteY41" fmla="*/ 7499 h 10000"/>
                <a:gd name="connsiteX42" fmla="*/ 9854 w 10158"/>
                <a:gd name="connsiteY42" fmla="*/ 7499 h 10000"/>
                <a:gd name="connsiteX43" fmla="*/ 9854 w 10158"/>
                <a:gd name="connsiteY43" fmla="*/ 7248 h 10000"/>
                <a:gd name="connsiteX44" fmla="*/ 9795 w 10158"/>
                <a:gd name="connsiteY44" fmla="*/ 6872 h 10000"/>
                <a:gd name="connsiteX45" fmla="*/ 9765 w 10158"/>
                <a:gd name="connsiteY45" fmla="*/ 6794 h 10000"/>
                <a:gd name="connsiteX46" fmla="*/ 9706 w 10158"/>
                <a:gd name="connsiteY46" fmla="*/ 6684 h 10000"/>
                <a:gd name="connsiteX47" fmla="*/ 9721 w 10158"/>
                <a:gd name="connsiteY47" fmla="*/ 6448 h 10000"/>
                <a:gd name="connsiteX48" fmla="*/ 9781 w 10158"/>
                <a:gd name="connsiteY48" fmla="*/ 6213 h 10000"/>
                <a:gd name="connsiteX49" fmla="*/ 9795 w 10158"/>
                <a:gd name="connsiteY49" fmla="*/ 6072 h 10000"/>
                <a:gd name="connsiteX50" fmla="*/ 9971 w 10158"/>
                <a:gd name="connsiteY50" fmla="*/ 5805 h 10000"/>
                <a:gd name="connsiteX51" fmla="*/ 10030 w 10158"/>
                <a:gd name="connsiteY51" fmla="*/ 5743 h 10000"/>
                <a:gd name="connsiteX52" fmla="*/ 10044 w 10158"/>
                <a:gd name="connsiteY52" fmla="*/ 5711 h 10000"/>
                <a:gd name="connsiteX53" fmla="*/ 9926 w 10158"/>
                <a:gd name="connsiteY53" fmla="*/ 5617 h 10000"/>
                <a:gd name="connsiteX54" fmla="*/ 9824 w 10158"/>
                <a:gd name="connsiteY54" fmla="*/ 5491 h 10000"/>
                <a:gd name="connsiteX55" fmla="*/ 10030 w 10158"/>
                <a:gd name="connsiteY55" fmla="*/ 5146 h 10000"/>
                <a:gd name="connsiteX56" fmla="*/ 10118 w 10158"/>
                <a:gd name="connsiteY56" fmla="*/ 4566 h 10000"/>
                <a:gd name="connsiteX57" fmla="*/ 10104 w 10158"/>
                <a:gd name="connsiteY57" fmla="*/ 4455 h 10000"/>
                <a:gd name="connsiteX0" fmla="*/ 9811 w 9865"/>
                <a:gd name="connsiteY0" fmla="*/ 4455 h 10000"/>
                <a:gd name="connsiteX1" fmla="*/ 9797 w 9865"/>
                <a:gd name="connsiteY1" fmla="*/ 4408 h 10000"/>
                <a:gd name="connsiteX2" fmla="*/ 9206 w 9865"/>
                <a:gd name="connsiteY2" fmla="*/ 3875 h 10000"/>
                <a:gd name="connsiteX3" fmla="*/ 9058 w 9865"/>
                <a:gd name="connsiteY3" fmla="*/ 3766 h 10000"/>
                <a:gd name="connsiteX4" fmla="*/ 9000 w 9865"/>
                <a:gd name="connsiteY4" fmla="*/ 3719 h 10000"/>
                <a:gd name="connsiteX5" fmla="*/ 8823 w 9865"/>
                <a:gd name="connsiteY5" fmla="*/ 3389 h 10000"/>
                <a:gd name="connsiteX6" fmla="*/ 8379 w 9865"/>
                <a:gd name="connsiteY6" fmla="*/ 2652 h 10000"/>
                <a:gd name="connsiteX7" fmla="*/ 7952 w 9865"/>
                <a:gd name="connsiteY7" fmla="*/ 2384 h 10000"/>
                <a:gd name="connsiteX8" fmla="*/ 7759 w 9865"/>
                <a:gd name="connsiteY8" fmla="*/ 2275 h 10000"/>
                <a:gd name="connsiteX9" fmla="*/ 7199 w 9865"/>
                <a:gd name="connsiteY9" fmla="*/ 1742 h 10000"/>
                <a:gd name="connsiteX10" fmla="*/ 6475 w 9865"/>
                <a:gd name="connsiteY10" fmla="*/ 941 h 10000"/>
                <a:gd name="connsiteX11" fmla="*/ 5902 w 9865"/>
                <a:gd name="connsiteY11" fmla="*/ 769 h 10000"/>
                <a:gd name="connsiteX12" fmla="*/ 5561 w 9865"/>
                <a:gd name="connsiteY12" fmla="*/ 298 h 10000"/>
                <a:gd name="connsiteX13" fmla="*/ 5606 w 9865"/>
                <a:gd name="connsiteY13" fmla="*/ 0 h 10000"/>
                <a:gd name="connsiteX14" fmla="*/ 4779 w 9865"/>
                <a:gd name="connsiteY14" fmla="*/ 188 h 10000"/>
                <a:gd name="connsiteX15" fmla="*/ 4116 w 9865"/>
                <a:gd name="connsiteY15" fmla="*/ 266 h 10000"/>
                <a:gd name="connsiteX16" fmla="*/ 4056 w 9865"/>
                <a:gd name="connsiteY16" fmla="*/ 266 h 10000"/>
                <a:gd name="connsiteX17" fmla="*/ 4056 w 9865"/>
                <a:gd name="connsiteY17" fmla="*/ 266 h 10000"/>
                <a:gd name="connsiteX18" fmla="*/ 1858 w 9865"/>
                <a:gd name="connsiteY18" fmla="*/ 659 h 10000"/>
                <a:gd name="connsiteX19" fmla="*/ 2758 w 9865"/>
                <a:gd name="connsiteY19" fmla="*/ 1666 h 10000"/>
                <a:gd name="connsiteX20" fmla="*/ 2962 w 9865"/>
                <a:gd name="connsiteY20" fmla="*/ 2342 h 10000"/>
                <a:gd name="connsiteX21" fmla="*/ 2793 w 9865"/>
                <a:gd name="connsiteY21" fmla="*/ 3160 h 10000"/>
                <a:gd name="connsiteX22" fmla="*/ 132 w 9865"/>
                <a:gd name="connsiteY22" fmla="*/ 9194 h 10000"/>
                <a:gd name="connsiteX23" fmla="*/ 442 w 9865"/>
                <a:gd name="connsiteY23" fmla="*/ 9492 h 10000"/>
                <a:gd name="connsiteX24" fmla="*/ 957 w 9865"/>
                <a:gd name="connsiteY24" fmla="*/ 9994 h 10000"/>
                <a:gd name="connsiteX25" fmla="*/ 1164 w 9865"/>
                <a:gd name="connsiteY25" fmla="*/ 9947 h 10000"/>
                <a:gd name="connsiteX26" fmla="*/ 1208 w 9865"/>
                <a:gd name="connsiteY26" fmla="*/ 9602 h 10000"/>
                <a:gd name="connsiteX27" fmla="*/ 515 w 9865"/>
                <a:gd name="connsiteY27" fmla="*/ 9022 h 10000"/>
                <a:gd name="connsiteX28" fmla="*/ 2168 w 9865"/>
                <a:gd name="connsiteY28" fmla="*/ 8472 h 10000"/>
                <a:gd name="connsiteX29" fmla="*/ 2565 w 9865"/>
                <a:gd name="connsiteY29" fmla="*/ 8441 h 10000"/>
                <a:gd name="connsiteX30" fmla="*/ 4646 w 9865"/>
                <a:gd name="connsiteY30" fmla="*/ 8331 h 10000"/>
                <a:gd name="connsiteX31" fmla="*/ 5340 w 9865"/>
                <a:gd name="connsiteY31" fmla="*/ 8300 h 10000"/>
                <a:gd name="connsiteX32" fmla="*/ 5857 w 9865"/>
                <a:gd name="connsiteY32" fmla="*/ 8300 h 10000"/>
                <a:gd name="connsiteX33" fmla="*/ 6948 w 9865"/>
                <a:gd name="connsiteY33" fmla="*/ 8205 h 10000"/>
                <a:gd name="connsiteX34" fmla="*/ 8409 w 9865"/>
                <a:gd name="connsiteY34" fmla="*/ 8080 h 10000"/>
                <a:gd name="connsiteX35" fmla="*/ 8749 w 9865"/>
                <a:gd name="connsiteY35" fmla="*/ 8268 h 10000"/>
                <a:gd name="connsiteX36" fmla="*/ 8941 w 9865"/>
                <a:gd name="connsiteY36" fmla="*/ 8362 h 10000"/>
                <a:gd name="connsiteX37" fmla="*/ 8941 w 9865"/>
                <a:gd name="connsiteY37" fmla="*/ 8268 h 10000"/>
                <a:gd name="connsiteX38" fmla="*/ 8793 w 9865"/>
                <a:gd name="connsiteY38" fmla="*/ 7861 h 10000"/>
                <a:gd name="connsiteX39" fmla="*/ 8734 w 9865"/>
                <a:gd name="connsiteY39" fmla="*/ 7547 h 10000"/>
                <a:gd name="connsiteX40" fmla="*/ 8837 w 9865"/>
                <a:gd name="connsiteY40" fmla="*/ 7499 h 10000"/>
                <a:gd name="connsiteX41" fmla="*/ 9561 w 9865"/>
                <a:gd name="connsiteY41" fmla="*/ 7499 h 10000"/>
                <a:gd name="connsiteX42" fmla="*/ 9561 w 9865"/>
                <a:gd name="connsiteY42" fmla="*/ 7248 h 10000"/>
                <a:gd name="connsiteX43" fmla="*/ 9502 w 9865"/>
                <a:gd name="connsiteY43" fmla="*/ 6872 h 10000"/>
                <a:gd name="connsiteX44" fmla="*/ 9472 w 9865"/>
                <a:gd name="connsiteY44" fmla="*/ 6794 h 10000"/>
                <a:gd name="connsiteX45" fmla="*/ 9413 w 9865"/>
                <a:gd name="connsiteY45" fmla="*/ 6684 h 10000"/>
                <a:gd name="connsiteX46" fmla="*/ 9428 w 9865"/>
                <a:gd name="connsiteY46" fmla="*/ 6448 h 10000"/>
                <a:gd name="connsiteX47" fmla="*/ 9488 w 9865"/>
                <a:gd name="connsiteY47" fmla="*/ 6213 h 10000"/>
                <a:gd name="connsiteX48" fmla="*/ 9502 w 9865"/>
                <a:gd name="connsiteY48" fmla="*/ 6072 h 10000"/>
                <a:gd name="connsiteX49" fmla="*/ 9678 w 9865"/>
                <a:gd name="connsiteY49" fmla="*/ 5805 h 10000"/>
                <a:gd name="connsiteX50" fmla="*/ 9737 w 9865"/>
                <a:gd name="connsiteY50" fmla="*/ 5743 h 10000"/>
                <a:gd name="connsiteX51" fmla="*/ 9751 w 9865"/>
                <a:gd name="connsiteY51" fmla="*/ 5711 h 10000"/>
                <a:gd name="connsiteX52" fmla="*/ 9633 w 9865"/>
                <a:gd name="connsiteY52" fmla="*/ 5617 h 10000"/>
                <a:gd name="connsiteX53" fmla="*/ 9531 w 9865"/>
                <a:gd name="connsiteY53" fmla="*/ 5491 h 10000"/>
                <a:gd name="connsiteX54" fmla="*/ 9737 w 9865"/>
                <a:gd name="connsiteY54" fmla="*/ 5146 h 10000"/>
                <a:gd name="connsiteX55" fmla="*/ 9825 w 9865"/>
                <a:gd name="connsiteY55" fmla="*/ 4566 h 10000"/>
                <a:gd name="connsiteX56" fmla="*/ 9811 w 9865"/>
                <a:gd name="connsiteY56" fmla="*/ 4455 h 10000"/>
                <a:gd name="connsiteX0" fmla="*/ 9497 w 9552"/>
                <a:gd name="connsiteY0" fmla="*/ 4455 h 10000"/>
                <a:gd name="connsiteX1" fmla="*/ 9483 w 9552"/>
                <a:gd name="connsiteY1" fmla="*/ 4408 h 10000"/>
                <a:gd name="connsiteX2" fmla="*/ 8884 w 9552"/>
                <a:gd name="connsiteY2" fmla="*/ 3875 h 10000"/>
                <a:gd name="connsiteX3" fmla="*/ 8734 w 9552"/>
                <a:gd name="connsiteY3" fmla="*/ 3766 h 10000"/>
                <a:gd name="connsiteX4" fmla="*/ 8675 w 9552"/>
                <a:gd name="connsiteY4" fmla="*/ 3719 h 10000"/>
                <a:gd name="connsiteX5" fmla="*/ 8496 w 9552"/>
                <a:gd name="connsiteY5" fmla="*/ 3389 h 10000"/>
                <a:gd name="connsiteX6" fmla="*/ 8046 w 9552"/>
                <a:gd name="connsiteY6" fmla="*/ 2652 h 10000"/>
                <a:gd name="connsiteX7" fmla="*/ 7613 w 9552"/>
                <a:gd name="connsiteY7" fmla="*/ 2384 h 10000"/>
                <a:gd name="connsiteX8" fmla="*/ 7417 w 9552"/>
                <a:gd name="connsiteY8" fmla="*/ 2275 h 10000"/>
                <a:gd name="connsiteX9" fmla="*/ 6850 w 9552"/>
                <a:gd name="connsiteY9" fmla="*/ 1742 h 10000"/>
                <a:gd name="connsiteX10" fmla="*/ 6116 w 9552"/>
                <a:gd name="connsiteY10" fmla="*/ 941 h 10000"/>
                <a:gd name="connsiteX11" fmla="*/ 5535 w 9552"/>
                <a:gd name="connsiteY11" fmla="*/ 769 h 10000"/>
                <a:gd name="connsiteX12" fmla="*/ 5189 w 9552"/>
                <a:gd name="connsiteY12" fmla="*/ 298 h 10000"/>
                <a:gd name="connsiteX13" fmla="*/ 5235 w 9552"/>
                <a:gd name="connsiteY13" fmla="*/ 0 h 10000"/>
                <a:gd name="connsiteX14" fmla="*/ 4396 w 9552"/>
                <a:gd name="connsiteY14" fmla="*/ 188 h 10000"/>
                <a:gd name="connsiteX15" fmla="*/ 3724 w 9552"/>
                <a:gd name="connsiteY15" fmla="*/ 266 h 10000"/>
                <a:gd name="connsiteX16" fmla="*/ 3664 w 9552"/>
                <a:gd name="connsiteY16" fmla="*/ 266 h 10000"/>
                <a:gd name="connsiteX17" fmla="*/ 3664 w 9552"/>
                <a:gd name="connsiteY17" fmla="*/ 266 h 10000"/>
                <a:gd name="connsiteX18" fmla="*/ 1435 w 9552"/>
                <a:gd name="connsiteY18" fmla="*/ 659 h 10000"/>
                <a:gd name="connsiteX19" fmla="*/ 2348 w 9552"/>
                <a:gd name="connsiteY19" fmla="*/ 1666 h 10000"/>
                <a:gd name="connsiteX20" fmla="*/ 2555 w 9552"/>
                <a:gd name="connsiteY20" fmla="*/ 2342 h 10000"/>
                <a:gd name="connsiteX21" fmla="*/ 2383 w 9552"/>
                <a:gd name="connsiteY21" fmla="*/ 3160 h 10000"/>
                <a:gd name="connsiteX22" fmla="*/ 0 w 9552"/>
                <a:gd name="connsiteY22" fmla="*/ 9492 h 10000"/>
                <a:gd name="connsiteX23" fmla="*/ 522 w 9552"/>
                <a:gd name="connsiteY23" fmla="*/ 9994 h 10000"/>
                <a:gd name="connsiteX24" fmla="*/ 732 w 9552"/>
                <a:gd name="connsiteY24" fmla="*/ 9947 h 10000"/>
                <a:gd name="connsiteX25" fmla="*/ 777 w 9552"/>
                <a:gd name="connsiteY25" fmla="*/ 9602 h 10000"/>
                <a:gd name="connsiteX26" fmla="*/ 74 w 9552"/>
                <a:gd name="connsiteY26" fmla="*/ 9022 h 10000"/>
                <a:gd name="connsiteX27" fmla="*/ 1750 w 9552"/>
                <a:gd name="connsiteY27" fmla="*/ 8472 h 10000"/>
                <a:gd name="connsiteX28" fmla="*/ 2152 w 9552"/>
                <a:gd name="connsiteY28" fmla="*/ 8441 h 10000"/>
                <a:gd name="connsiteX29" fmla="*/ 4262 w 9552"/>
                <a:gd name="connsiteY29" fmla="*/ 8331 h 10000"/>
                <a:gd name="connsiteX30" fmla="*/ 4965 w 9552"/>
                <a:gd name="connsiteY30" fmla="*/ 8300 h 10000"/>
                <a:gd name="connsiteX31" fmla="*/ 5489 w 9552"/>
                <a:gd name="connsiteY31" fmla="*/ 8300 h 10000"/>
                <a:gd name="connsiteX32" fmla="*/ 6595 w 9552"/>
                <a:gd name="connsiteY32" fmla="*/ 8205 h 10000"/>
                <a:gd name="connsiteX33" fmla="*/ 8076 w 9552"/>
                <a:gd name="connsiteY33" fmla="*/ 8080 h 10000"/>
                <a:gd name="connsiteX34" fmla="*/ 8421 w 9552"/>
                <a:gd name="connsiteY34" fmla="*/ 8268 h 10000"/>
                <a:gd name="connsiteX35" fmla="*/ 8615 w 9552"/>
                <a:gd name="connsiteY35" fmla="*/ 8362 h 10000"/>
                <a:gd name="connsiteX36" fmla="*/ 8615 w 9552"/>
                <a:gd name="connsiteY36" fmla="*/ 8268 h 10000"/>
                <a:gd name="connsiteX37" fmla="*/ 8465 w 9552"/>
                <a:gd name="connsiteY37" fmla="*/ 7861 h 10000"/>
                <a:gd name="connsiteX38" fmla="*/ 8406 w 9552"/>
                <a:gd name="connsiteY38" fmla="*/ 7547 h 10000"/>
                <a:gd name="connsiteX39" fmla="*/ 8510 w 9552"/>
                <a:gd name="connsiteY39" fmla="*/ 7499 h 10000"/>
                <a:gd name="connsiteX40" fmla="*/ 9244 w 9552"/>
                <a:gd name="connsiteY40" fmla="*/ 7499 h 10000"/>
                <a:gd name="connsiteX41" fmla="*/ 9244 w 9552"/>
                <a:gd name="connsiteY41" fmla="*/ 7248 h 10000"/>
                <a:gd name="connsiteX42" fmla="*/ 9184 w 9552"/>
                <a:gd name="connsiteY42" fmla="*/ 6872 h 10000"/>
                <a:gd name="connsiteX43" fmla="*/ 9154 w 9552"/>
                <a:gd name="connsiteY43" fmla="*/ 6794 h 10000"/>
                <a:gd name="connsiteX44" fmla="*/ 9094 w 9552"/>
                <a:gd name="connsiteY44" fmla="*/ 6684 h 10000"/>
                <a:gd name="connsiteX45" fmla="*/ 9109 w 9552"/>
                <a:gd name="connsiteY45" fmla="*/ 6448 h 10000"/>
                <a:gd name="connsiteX46" fmla="*/ 9170 w 9552"/>
                <a:gd name="connsiteY46" fmla="*/ 6213 h 10000"/>
                <a:gd name="connsiteX47" fmla="*/ 9184 w 9552"/>
                <a:gd name="connsiteY47" fmla="*/ 6072 h 10000"/>
                <a:gd name="connsiteX48" fmla="*/ 9362 w 9552"/>
                <a:gd name="connsiteY48" fmla="*/ 5805 h 10000"/>
                <a:gd name="connsiteX49" fmla="*/ 9422 w 9552"/>
                <a:gd name="connsiteY49" fmla="*/ 5743 h 10000"/>
                <a:gd name="connsiteX50" fmla="*/ 9436 w 9552"/>
                <a:gd name="connsiteY50" fmla="*/ 5711 h 10000"/>
                <a:gd name="connsiteX51" fmla="*/ 9317 w 9552"/>
                <a:gd name="connsiteY51" fmla="*/ 5617 h 10000"/>
                <a:gd name="connsiteX52" fmla="*/ 9213 w 9552"/>
                <a:gd name="connsiteY52" fmla="*/ 5491 h 10000"/>
                <a:gd name="connsiteX53" fmla="*/ 9422 w 9552"/>
                <a:gd name="connsiteY53" fmla="*/ 5146 h 10000"/>
                <a:gd name="connsiteX54" fmla="*/ 9511 w 9552"/>
                <a:gd name="connsiteY54" fmla="*/ 4566 h 10000"/>
                <a:gd name="connsiteX55" fmla="*/ 9497 w 9552"/>
                <a:gd name="connsiteY55" fmla="*/ 4455 h 10000"/>
                <a:gd name="connsiteX0" fmla="*/ 9865 w 9923"/>
                <a:gd name="connsiteY0" fmla="*/ 4455 h 10494"/>
                <a:gd name="connsiteX1" fmla="*/ 9851 w 9923"/>
                <a:gd name="connsiteY1" fmla="*/ 4408 h 10494"/>
                <a:gd name="connsiteX2" fmla="*/ 9224 w 9923"/>
                <a:gd name="connsiteY2" fmla="*/ 3875 h 10494"/>
                <a:gd name="connsiteX3" fmla="*/ 9067 w 9923"/>
                <a:gd name="connsiteY3" fmla="*/ 3766 h 10494"/>
                <a:gd name="connsiteX4" fmla="*/ 9005 w 9923"/>
                <a:gd name="connsiteY4" fmla="*/ 3719 h 10494"/>
                <a:gd name="connsiteX5" fmla="*/ 8817 w 9923"/>
                <a:gd name="connsiteY5" fmla="*/ 3389 h 10494"/>
                <a:gd name="connsiteX6" fmla="*/ 8346 w 9923"/>
                <a:gd name="connsiteY6" fmla="*/ 2652 h 10494"/>
                <a:gd name="connsiteX7" fmla="*/ 7893 w 9923"/>
                <a:gd name="connsiteY7" fmla="*/ 2384 h 10494"/>
                <a:gd name="connsiteX8" fmla="*/ 7688 w 9923"/>
                <a:gd name="connsiteY8" fmla="*/ 2275 h 10494"/>
                <a:gd name="connsiteX9" fmla="*/ 7094 w 9923"/>
                <a:gd name="connsiteY9" fmla="*/ 1742 h 10494"/>
                <a:gd name="connsiteX10" fmla="*/ 6326 w 9923"/>
                <a:gd name="connsiteY10" fmla="*/ 941 h 10494"/>
                <a:gd name="connsiteX11" fmla="*/ 5718 w 9923"/>
                <a:gd name="connsiteY11" fmla="*/ 769 h 10494"/>
                <a:gd name="connsiteX12" fmla="*/ 5355 w 9923"/>
                <a:gd name="connsiteY12" fmla="*/ 298 h 10494"/>
                <a:gd name="connsiteX13" fmla="*/ 5404 w 9923"/>
                <a:gd name="connsiteY13" fmla="*/ 0 h 10494"/>
                <a:gd name="connsiteX14" fmla="*/ 4525 w 9923"/>
                <a:gd name="connsiteY14" fmla="*/ 188 h 10494"/>
                <a:gd name="connsiteX15" fmla="*/ 3822 w 9923"/>
                <a:gd name="connsiteY15" fmla="*/ 266 h 10494"/>
                <a:gd name="connsiteX16" fmla="*/ 3759 w 9923"/>
                <a:gd name="connsiteY16" fmla="*/ 266 h 10494"/>
                <a:gd name="connsiteX17" fmla="*/ 3759 w 9923"/>
                <a:gd name="connsiteY17" fmla="*/ 266 h 10494"/>
                <a:gd name="connsiteX18" fmla="*/ 1425 w 9923"/>
                <a:gd name="connsiteY18" fmla="*/ 659 h 10494"/>
                <a:gd name="connsiteX19" fmla="*/ 2381 w 9923"/>
                <a:gd name="connsiteY19" fmla="*/ 1666 h 10494"/>
                <a:gd name="connsiteX20" fmla="*/ 2598 w 9923"/>
                <a:gd name="connsiteY20" fmla="*/ 2342 h 10494"/>
                <a:gd name="connsiteX21" fmla="*/ 2418 w 9923"/>
                <a:gd name="connsiteY21" fmla="*/ 3160 h 10494"/>
                <a:gd name="connsiteX22" fmla="*/ 469 w 9923"/>
                <a:gd name="connsiteY22" fmla="*/ 9994 h 10494"/>
                <a:gd name="connsiteX23" fmla="*/ 689 w 9923"/>
                <a:gd name="connsiteY23" fmla="*/ 9947 h 10494"/>
                <a:gd name="connsiteX24" fmla="*/ 736 w 9923"/>
                <a:gd name="connsiteY24" fmla="*/ 9602 h 10494"/>
                <a:gd name="connsiteX25" fmla="*/ 0 w 9923"/>
                <a:gd name="connsiteY25" fmla="*/ 9022 h 10494"/>
                <a:gd name="connsiteX26" fmla="*/ 1755 w 9923"/>
                <a:gd name="connsiteY26" fmla="*/ 8472 h 10494"/>
                <a:gd name="connsiteX27" fmla="*/ 2176 w 9923"/>
                <a:gd name="connsiteY27" fmla="*/ 8441 h 10494"/>
                <a:gd name="connsiteX28" fmla="*/ 4385 w 9923"/>
                <a:gd name="connsiteY28" fmla="*/ 8331 h 10494"/>
                <a:gd name="connsiteX29" fmla="*/ 5121 w 9923"/>
                <a:gd name="connsiteY29" fmla="*/ 8300 h 10494"/>
                <a:gd name="connsiteX30" fmla="*/ 5669 w 9923"/>
                <a:gd name="connsiteY30" fmla="*/ 8300 h 10494"/>
                <a:gd name="connsiteX31" fmla="*/ 6827 w 9923"/>
                <a:gd name="connsiteY31" fmla="*/ 8205 h 10494"/>
                <a:gd name="connsiteX32" fmla="*/ 8378 w 9923"/>
                <a:gd name="connsiteY32" fmla="*/ 8080 h 10494"/>
                <a:gd name="connsiteX33" fmla="*/ 8739 w 9923"/>
                <a:gd name="connsiteY33" fmla="*/ 8268 h 10494"/>
                <a:gd name="connsiteX34" fmla="*/ 8942 w 9923"/>
                <a:gd name="connsiteY34" fmla="*/ 8362 h 10494"/>
                <a:gd name="connsiteX35" fmla="*/ 8942 w 9923"/>
                <a:gd name="connsiteY35" fmla="*/ 8268 h 10494"/>
                <a:gd name="connsiteX36" fmla="*/ 8785 w 9923"/>
                <a:gd name="connsiteY36" fmla="*/ 7861 h 10494"/>
                <a:gd name="connsiteX37" fmla="*/ 8723 w 9923"/>
                <a:gd name="connsiteY37" fmla="*/ 7547 h 10494"/>
                <a:gd name="connsiteX38" fmla="*/ 8832 w 9923"/>
                <a:gd name="connsiteY38" fmla="*/ 7499 h 10494"/>
                <a:gd name="connsiteX39" fmla="*/ 9601 w 9923"/>
                <a:gd name="connsiteY39" fmla="*/ 7499 h 10494"/>
                <a:gd name="connsiteX40" fmla="*/ 9601 w 9923"/>
                <a:gd name="connsiteY40" fmla="*/ 7248 h 10494"/>
                <a:gd name="connsiteX41" fmla="*/ 9538 w 9923"/>
                <a:gd name="connsiteY41" fmla="*/ 6872 h 10494"/>
                <a:gd name="connsiteX42" fmla="*/ 9506 w 9923"/>
                <a:gd name="connsiteY42" fmla="*/ 6794 h 10494"/>
                <a:gd name="connsiteX43" fmla="*/ 9444 w 9923"/>
                <a:gd name="connsiteY43" fmla="*/ 6684 h 10494"/>
                <a:gd name="connsiteX44" fmla="*/ 9459 w 9923"/>
                <a:gd name="connsiteY44" fmla="*/ 6448 h 10494"/>
                <a:gd name="connsiteX45" fmla="*/ 9523 w 9923"/>
                <a:gd name="connsiteY45" fmla="*/ 6213 h 10494"/>
                <a:gd name="connsiteX46" fmla="*/ 9538 w 9923"/>
                <a:gd name="connsiteY46" fmla="*/ 6072 h 10494"/>
                <a:gd name="connsiteX47" fmla="*/ 9724 w 9923"/>
                <a:gd name="connsiteY47" fmla="*/ 5805 h 10494"/>
                <a:gd name="connsiteX48" fmla="*/ 9787 w 9923"/>
                <a:gd name="connsiteY48" fmla="*/ 5743 h 10494"/>
                <a:gd name="connsiteX49" fmla="*/ 9802 w 9923"/>
                <a:gd name="connsiteY49" fmla="*/ 5711 h 10494"/>
                <a:gd name="connsiteX50" fmla="*/ 9677 w 9923"/>
                <a:gd name="connsiteY50" fmla="*/ 5617 h 10494"/>
                <a:gd name="connsiteX51" fmla="*/ 9568 w 9923"/>
                <a:gd name="connsiteY51" fmla="*/ 5491 h 10494"/>
                <a:gd name="connsiteX52" fmla="*/ 9787 w 9923"/>
                <a:gd name="connsiteY52" fmla="*/ 5146 h 10494"/>
                <a:gd name="connsiteX53" fmla="*/ 9880 w 9923"/>
                <a:gd name="connsiteY53" fmla="*/ 4566 h 10494"/>
                <a:gd name="connsiteX54" fmla="*/ 9865 w 9923"/>
                <a:gd name="connsiteY54" fmla="*/ 4455 h 10494"/>
                <a:gd name="connsiteX0" fmla="*/ 9942 w 10000"/>
                <a:gd name="connsiteY0" fmla="*/ 4245 h 9479"/>
                <a:gd name="connsiteX1" fmla="*/ 9927 w 10000"/>
                <a:gd name="connsiteY1" fmla="*/ 4200 h 9479"/>
                <a:gd name="connsiteX2" fmla="*/ 9296 w 10000"/>
                <a:gd name="connsiteY2" fmla="*/ 3693 h 9479"/>
                <a:gd name="connsiteX3" fmla="*/ 9137 w 10000"/>
                <a:gd name="connsiteY3" fmla="*/ 3589 h 9479"/>
                <a:gd name="connsiteX4" fmla="*/ 9075 w 10000"/>
                <a:gd name="connsiteY4" fmla="*/ 3544 h 9479"/>
                <a:gd name="connsiteX5" fmla="*/ 8885 w 10000"/>
                <a:gd name="connsiteY5" fmla="*/ 3229 h 9479"/>
                <a:gd name="connsiteX6" fmla="*/ 8411 w 10000"/>
                <a:gd name="connsiteY6" fmla="*/ 2527 h 9479"/>
                <a:gd name="connsiteX7" fmla="*/ 7954 w 10000"/>
                <a:gd name="connsiteY7" fmla="*/ 2272 h 9479"/>
                <a:gd name="connsiteX8" fmla="*/ 7748 w 10000"/>
                <a:gd name="connsiteY8" fmla="*/ 2168 h 9479"/>
                <a:gd name="connsiteX9" fmla="*/ 7149 w 10000"/>
                <a:gd name="connsiteY9" fmla="*/ 1660 h 9479"/>
                <a:gd name="connsiteX10" fmla="*/ 6375 w 10000"/>
                <a:gd name="connsiteY10" fmla="*/ 897 h 9479"/>
                <a:gd name="connsiteX11" fmla="*/ 5762 w 10000"/>
                <a:gd name="connsiteY11" fmla="*/ 733 h 9479"/>
                <a:gd name="connsiteX12" fmla="*/ 5397 w 10000"/>
                <a:gd name="connsiteY12" fmla="*/ 284 h 9479"/>
                <a:gd name="connsiteX13" fmla="*/ 5446 w 10000"/>
                <a:gd name="connsiteY13" fmla="*/ 0 h 9479"/>
                <a:gd name="connsiteX14" fmla="*/ 4560 w 10000"/>
                <a:gd name="connsiteY14" fmla="*/ 179 h 9479"/>
                <a:gd name="connsiteX15" fmla="*/ 3852 w 10000"/>
                <a:gd name="connsiteY15" fmla="*/ 253 h 9479"/>
                <a:gd name="connsiteX16" fmla="*/ 3788 w 10000"/>
                <a:gd name="connsiteY16" fmla="*/ 253 h 9479"/>
                <a:gd name="connsiteX17" fmla="*/ 3788 w 10000"/>
                <a:gd name="connsiteY17" fmla="*/ 253 h 9479"/>
                <a:gd name="connsiteX18" fmla="*/ 1436 w 10000"/>
                <a:gd name="connsiteY18" fmla="*/ 628 h 9479"/>
                <a:gd name="connsiteX19" fmla="*/ 2399 w 10000"/>
                <a:gd name="connsiteY19" fmla="*/ 1588 h 9479"/>
                <a:gd name="connsiteX20" fmla="*/ 2618 w 10000"/>
                <a:gd name="connsiteY20" fmla="*/ 2232 h 9479"/>
                <a:gd name="connsiteX21" fmla="*/ 2437 w 10000"/>
                <a:gd name="connsiteY21" fmla="*/ 3011 h 9479"/>
                <a:gd name="connsiteX22" fmla="*/ 694 w 10000"/>
                <a:gd name="connsiteY22" fmla="*/ 9479 h 9479"/>
                <a:gd name="connsiteX23" fmla="*/ 742 w 10000"/>
                <a:gd name="connsiteY23" fmla="*/ 9150 h 9479"/>
                <a:gd name="connsiteX24" fmla="*/ 0 w 10000"/>
                <a:gd name="connsiteY24" fmla="*/ 8597 h 9479"/>
                <a:gd name="connsiteX25" fmla="*/ 1769 w 10000"/>
                <a:gd name="connsiteY25" fmla="*/ 8073 h 9479"/>
                <a:gd name="connsiteX26" fmla="*/ 2193 w 10000"/>
                <a:gd name="connsiteY26" fmla="*/ 8044 h 9479"/>
                <a:gd name="connsiteX27" fmla="*/ 4419 w 10000"/>
                <a:gd name="connsiteY27" fmla="*/ 7939 h 9479"/>
                <a:gd name="connsiteX28" fmla="*/ 5161 w 10000"/>
                <a:gd name="connsiteY28" fmla="*/ 7909 h 9479"/>
                <a:gd name="connsiteX29" fmla="*/ 5713 w 10000"/>
                <a:gd name="connsiteY29" fmla="*/ 7909 h 9479"/>
                <a:gd name="connsiteX30" fmla="*/ 6880 w 10000"/>
                <a:gd name="connsiteY30" fmla="*/ 7819 h 9479"/>
                <a:gd name="connsiteX31" fmla="*/ 8443 w 10000"/>
                <a:gd name="connsiteY31" fmla="*/ 7700 h 9479"/>
                <a:gd name="connsiteX32" fmla="*/ 8807 w 10000"/>
                <a:gd name="connsiteY32" fmla="*/ 7879 h 9479"/>
                <a:gd name="connsiteX33" fmla="*/ 9011 w 10000"/>
                <a:gd name="connsiteY33" fmla="*/ 7968 h 9479"/>
                <a:gd name="connsiteX34" fmla="*/ 9011 w 10000"/>
                <a:gd name="connsiteY34" fmla="*/ 7879 h 9479"/>
                <a:gd name="connsiteX35" fmla="*/ 8853 w 10000"/>
                <a:gd name="connsiteY35" fmla="*/ 7491 h 9479"/>
                <a:gd name="connsiteX36" fmla="*/ 8791 w 10000"/>
                <a:gd name="connsiteY36" fmla="*/ 7192 h 9479"/>
                <a:gd name="connsiteX37" fmla="*/ 8901 w 10000"/>
                <a:gd name="connsiteY37" fmla="*/ 7146 h 9479"/>
                <a:gd name="connsiteX38" fmla="*/ 9676 w 10000"/>
                <a:gd name="connsiteY38" fmla="*/ 7146 h 9479"/>
                <a:gd name="connsiteX39" fmla="*/ 9676 w 10000"/>
                <a:gd name="connsiteY39" fmla="*/ 6907 h 9479"/>
                <a:gd name="connsiteX40" fmla="*/ 9612 w 10000"/>
                <a:gd name="connsiteY40" fmla="*/ 6549 h 9479"/>
                <a:gd name="connsiteX41" fmla="*/ 9580 w 10000"/>
                <a:gd name="connsiteY41" fmla="*/ 6474 h 9479"/>
                <a:gd name="connsiteX42" fmla="*/ 9517 w 10000"/>
                <a:gd name="connsiteY42" fmla="*/ 6369 h 9479"/>
                <a:gd name="connsiteX43" fmla="*/ 9532 w 10000"/>
                <a:gd name="connsiteY43" fmla="*/ 6144 h 9479"/>
                <a:gd name="connsiteX44" fmla="*/ 9597 w 10000"/>
                <a:gd name="connsiteY44" fmla="*/ 5921 h 9479"/>
                <a:gd name="connsiteX45" fmla="*/ 9612 w 10000"/>
                <a:gd name="connsiteY45" fmla="*/ 5786 h 9479"/>
                <a:gd name="connsiteX46" fmla="*/ 9799 w 10000"/>
                <a:gd name="connsiteY46" fmla="*/ 5532 h 9479"/>
                <a:gd name="connsiteX47" fmla="*/ 9863 w 10000"/>
                <a:gd name="connsiteY47" fmla="*/ 5473 h 9479"/>
                <a:gd name="connsiteX48" fmla="*/ 9878 w 10000"/>
                <a:gd name="connsiteY48" fmla="*/ 5442 h 9479"/>
                <a:gd name="connsiteX49" fmla="*/ 9752 w 10000"/>
                <a:gd name="connsiteY49" fmla="*/ 5353 h 9479"/>
                <a:gd name="connsiteX50" fmla="*/ 9642 w 10000"/>
                <a:gd name="connsiteY50" fmla="*/ 5233 h 9479"/>
                <a:gd name="connsiteX51" fmla="*/ 9863 w 10000"/>
                <a:gd name="connsiteY51" fmla="*/ 4904 h 9479"/>
                <a:gd name="connsiteX52" fmla="*/ 9957 w 10000"/>
                <a:gd name="connsiteY52" fmla="*/ 4351 h 9479"/>
                <a:gd name="connsiteX53" fmla="*/ 9942 w 10000"/>
                <a:gd name="connsiteY53" fmla="*/ 4245 h 9479"/>
                <a:gd name="connsiteX0" fmla="*/ 9248 w 9306"/>
                <a:gd name="connsiteY0" fmla="*/ 4478 h 10000"/>
                <a:gd name="connsiteX1" fmla="*/ 9233 w 9306"/>
                <a:gd name="connsiteY1" fmla="*/ 4431 h 10000"/>
                <a:gd name="connsiteX2" fmla="*/ 8602 w 9306"/>
                <a:gd name="connsiteY2" fmla="*/ 3896 h 10000"/>
                <a:gd name="connsiteX3" fmla="*/ 8443 w 9306"/>
                <a:gd name="connsiteY3" fmla="*/ 3786 h 10000"/>
                <a:gd name="connsiteX4" fmla="*/ 8381 w 9306"/>
                <a:gd name="connsiteY4" fmla="*/ 3739 h 10000"/>
                <a:gd name="connsiteX5" fmla="*/ 8191 w 9306"/>
                <a:gd name="connsiteY5" fmla="*/ 3406 h 10000"/>
                <a:gd name="connsiteX6" fmla="*/ 7717 w 9306"/>
                <a:gd name="connsiteY6" fmla="*/ 2666 h 10000"/>
                <a:gd name="connsiteX7" fmla="*/ 7260 w 9306"/>
                <a:gd name="connsiteY7" fmla="*/ 2397 h 10000"/>
                <a:gd name="connsiteX8" fmla="*/ 7054 w 9306"/>
                <a:gd name="connsiteY8" fmla="*/ 2287 h 10000"/>
                <a:gd name="connsiteX9" fmla="*/ 6455 w 9306"/>
                <a:gd name="connsiteY9" fmla="*/ 1751 h 10000"/>
                <a:gd name="connsiteX10" fmla="*/ 5681 w 9306"/>
                <a:gd name="connsiteY10" fmla="*/ 946 h 10000"/>
                <a:gd name="connsiteX11" fmla="*/ 5068 w 9306"/>
                <a:gd name="connsiteY11" fmla="*/ 773 h 10000"/>
                <a:gd name="connsiteX12" fmla="*/ 4703 w 9306"/>
                <a:gd name="connsiteY12" fmla="*/ 300 h 10000"/>
                <a:gd name="connsiteX13" fmla="*/ 4752 w 9306"/>
                <a:gd name="connsiteY13" fmla="*/ 0 h 10000"/>
                <a:gd name="connsiteX14" fmla="*/ 3866 w 9306"/>
                <a:gd name="connsiteY14" fmla="*/ 189 h 10000"/>
                <a:gd name="connsiteX15" fmla="*/ 3158 w 9306"/>
                <a:gd name="connsiteY15" fmla="*/ 267 h 10000"/>
                <a:gd name="connsiteX16" fmla="*/ 3094 w 9306"/>
                <a:gd name="connsiteY16" fmla="*/ 267 h 10000"/>
                <a:gd name="connsiteX17" fmla="*/ 3094 w 9306"/>
                <a:gd name="connsiteY17" fmla="*/ 267 h 10000"/>
                <a:gd name="connsiteX18" fmla="*/ 742 w 9306"/>
                <a:gd name="connsiteY18" fmla="*/ 663 h 10000"/>
                <a:gd name="connsiteX19" fmla="*/ 1705 w 9306"/>
                <a:gd name="connsiteY19" fmla="*/ 1675 h 10000"/>
                <a:gd name="connsiteX20" fmla="*/ 1924 w 9306"/>
                <a:gd name="connsiteY20" fmla="*/ 2355 h 10000"/>
                <a:gd name="connsiteX21" fmla="*/ 1743 w 9306"/>
                <a:gd name="connsiteY21" fmla="*/ 3176 h 10000"/>
                <a:gd name="connsiteX22" fmla="*/ 0 w 9306"/>
                <a:gd name="connsiteY22" fmla="*/ 10000 h 10000"/>
                <a:gd name="connsiteX23" fmla="*/ 48 w 9306"/>
                <a:gd name="connsiteY23" fmla="*/ 9653 h 10000"/>
                <a:gd name="connsiteX24" fmla="*/ 1075 w 9306"/>
                <a:gd name="connsiteY24" fmla="*/ 8517 h 10000"/>
                <a:gd name="connsiteX25" fmla="*/ 1499 w 9306"/>
                <a:gd name="connsiteY25" fmla="*/ 8486 h 10000"/>
                <a:gd name="connsiteX26" fmla="*/ 3725 w 9306"/>
                <a:gd name="connsiteY26" fmla="*/ 8375 h 10000"/>
                <a:gd name="connsiteX27" fmla="*/ 4467 w 9306"/>
                <a:gd name="connsiteY27" fmla="*/ 8344 h 10000"/>
                <a:gd name="connsiteX28" fmla="*/ 5019 w 9306"/>
                <a:gd name="connsiteY28" fmla="*/ 8344 h 10000"/>
                <a:gd name="connsiteX29" fmla="*/ 6186 w 9306"/>
                <a:gd name="connsiteY29" fmla="*/ 8249 h 10000"/>
                <a:gd name="connsiteX30" fmla="*/ 7749 w 9306"/>
                <a:gd name="connsiteY30" fmla="*/ 8123 h 10000"/>
                <a:gd name="connsiteX31" fmla="*/ 8113 w 9306"/>
                <a:gd name="connsiteY31" fmla="*/ 8312 h 10000"/>
                <a:gd name="connsiteX32" fmla="*/ 8317 w 9306"/>
                <a:gd name="connsiteY32" fmla="*/ 8406 h 10000"/>
                <a:gd name="connsiteX33" fmla="*/ 8317 w 9306"/>
                <a:gd name="connsiteY33" fmla="*/ 8312 h 10000"/>
                <a:gd name="connsiteX34" fmla="*/ 8159 w 9306"/>
                <a:gd name="connsiteY34" fmla="*/ 7903 h 10000"/>
                <a:gd name="connsiteX35" fmla="*/ 8097 w 9306"/>
                <a:gd name="connsiteY35" fmla="*/ 7587 h 10000"/>
                <a:gd name="connsiteX36" fmla="*/ 8207 w 9306"/>
                <a:gd name="connsiteY36" fmla="*/ 7539 h 10000"/>
                <a:gd name="connsiteX37" fmla="*/ 8982 w 9306"/>
                <a:gd name="connsiteY37" fmla="*/ 7539 h 10000"/>
                <a:gd name="connsiteX38" fmla="*/ 8982 w 9306"/>
                <a:gd name="connsiteY38" fmla="*/ 7287 h 10000"/>
                <a:gd name="connsiteX39" fmla="*/ 8918 w 9306"/>
                <a:gd name="connsiteY39" fmla="*/ 6909 h 10000"/>
                <a:gd name="connsiteX40" fmla="*/ 8886 w 9306"/>
                <a:gd name="connsiteY40" fmla="*/ 6830 h 10000"/>
                <a:gd name="connsiteX41" fmla="*/ 8823 w 9306"/>
                <a:gd name="connsiteY41" fmla="*/ 6719 h 10000"/>
                <a:gd name="connsiteX42" fmla="*/ 8838 w 9306"/>
                <a:gd name="connsiteY42" fmla="*/ 6482 h 10000"/>
                <a:gd name="connsiteX43" fmla="*/ 8903 w 9306"/>
                <a:gd name="connsiteY43" fmla="*/ 6246 h 10000"/>
                <a:gd name="connsiteX44" fmla="*/ 8918 w 9306"/>
                <a:gd name="connsiteY44" fmla="*/ 6104 h 10000"/>
                <a:gd name="connsiteX45" fmla="*/ 9105 w 9306"/>
                <a:gd name="connsiteY45" fmla="*/ 5836 h 10000"/>
                <a:gd name="connsiteX46" fmla="*/ 9169 w 9306"/>
                <a:gd name="connsiteY46" fmla="*/ 5774 h 10000"/>
                <a:gd name="connsiteX47" fmla="*/ 9184 w 9306"/>
                <a:gd name="connsiteY47" fmla="*/ 5741 h 10000"/>
                <a:gd name="connsiteX48" fmla="*/ 9058 w 9306"/>
                <a:gd name="connsiteY48" fmla="*/ 5647 h 10000"/>
                <a:gd name="connsiteX49" fmla="*/ 8948 w 9306"/>
                <a:gd name="connsiteY49" fmla="*/ 5521 h 10000"/>
                <a:gd name="connsiteX50" fmla="*/ 9169 w 9306"/>
                <a:gd name="connsiteY50" fmla="*/ 5174 h 10000"/>
                <a:gd name="connsiteX51" fmla="*/ 9263 w 9306"/>
                <a:gd name="connsiteY51" fmla="*/ 4590 h 10000"/>
                <a:gd name="connsiteX52" fmla="*/ 9248 w 9306"/>
                <a:gd name="connsiteY52" fmla="*/ 4478 h 10000"/>
                <a:gd name="connsiteX0" fmla="*/ 9897 w 9959"/>
                <a:gd name="connsiteY0" fmla="*/ 4478 h 9895"/>
                <a:gd name="connsiteX1" fmla="*/ 9881 w 9959"/>
                <a:gd name="connsiteY1" fmla="*/ 4431 h 9895"/>
                <a:gd name="connsiteX2" fmla="*/ 9202 w 9959"/>
                <a:gd name="connsiteY2" fmla="*/ 3896 h 9895"/>
                <a:gd name="connsiteX3" fmla="*/ 9032 w 9959"/>
                <a:gd name="connsiteY3" fmla="*/ 3786 h 9895"/>
                <a:gd name="connsiteX4" fmla="*/ 8965 w 9959"/>
                <a:gd name="connsiteY4" fmla="*/ 3739 h 9895"/>
                <a:gd name="connsiteX5" fmla="*/ 8761 w 9959"/>
                <a:gd name="connsiteY5" fmla="*/ 3406 h 9895"/>
                <a:gd name="connsiteX6" fmla="*/ 8251 w 9959"/>
                <a:gd name="connsiteY6" fmla="*/ 2666 h 9895"/>
                <a:gd name="connsiteX7" fmla="*/ 7760 w 9959"/>
                <a:gd name="connsiteY7" fmla="*/ 2397 h 9895"/>
                <a:gd name="connsiteX8" fmla="*/ 7539 w 9959"/>
                <a:gd name="connsiteY8" fmla="*/ 2287 h 9895"/>
                <a:gd name="connsiteX9" fmla="*/ 6895 w 9959"/>
                <a:gd name="connsiteY9" fmla="*/ 1751 h 9895"/>
                <a:gd name="connsiteX10" fmla="*/ 6064 w 9959"/>
                <a:gd name="connsiteY10" fmla="*/ 946 h 9895"/>
                <a:gd name="connsiteX11" fmla="*/ 5405 w 9959"/>
                <a:gd name="connsiteY11" fmla="*/ 773 h 9895"/>
                <a:gd name="connsiteX12" fmla="*/ 5013 w 9959"/>
                <a:gd name="connsiteY12" fmla="*/ 300 h 9895"/>
                <a:gd name="connsiteX13" fmla="*/ 5065 w 9959"/>
                <a:gd name="connsiteY13" fmla="*/ 0 h 9895"/>
                <a:gd name="connsiteX14" fmla="*/ 4113 w 9959"/>
                <a:gd name="connsiteY14" fmla="*/ 189 h 9895"/>
                <a:gd name="connsiteX15" fmla="*/ 3353 w 9959"/>
                <a:gd name="connsiteY15" fmla="*/ 267 h 9895"/>
                <a:gd name="connsiteX16" fmla="*/ 3284 w 9959"/>
                <a:gd name="connsiteY16" fmla="*/ 267 h 9895"/>
                <a:gd name="connsiteX17" fmla="*/ 3284 w 9959"/>
                <a:gd name="connsiteY17" fmla="*/ 267 h 9895"/>
                <a:gd name="connsiteX18" fmla="*/ 756 w 9959"/>
                <a:gd name="connsiteY18" fmla="*/ 663 h 9895"/>
                <a:gd name="connsiteX19" fmla="*/ 1791 w 9959"/>
                <a:gd name="connsiteY19" fmla="*/ 1675 h 9895"/>
                <a:gd name="connsiteX20" fmla="*/ 2026 w 9959"/>
                <a:gd name="connsiteY20" fmla="*/ 2355 h 9895"/>
                <a:gd name="connsiteX21" fmla="*/ 1832 w 9959"/>
                <a:gd name="connsiteY21" fmla="*/ 3176 h 9895"/>
                <a:gd name="connsiteX22" fmla="*/ 11 w 9959"/>
                <a:gd name="connsiteY22" fmla="*/ 9653 h 9895"/>
                <a:gd name="connsiteX23" fmla="*/ 1114 w 9959"/>
                <a:gd name="connsiteY23" fmla="*/ 8517 h 9895"/>
                <a:gd name="connsiteX24" fmla="*/ 1570 w 9959"/>
                <a:gd name="connsiteY24" fmla="*/ 8486 h 9895"/>
                <a:gd name="connsiteX25" fmla="*/ 3962 w 9959"/>
                <a:gd name="connsiteY25" fmla="*/ 8375 h 9895"/>
                <a:gd name="connsiteX26" fmla="*/ 4759 w 9959"/>
                <a:gd name="connsiteY26" fmla="*/ 8344 h 9895"/>
                <a:gd name="connsiteX27" fmla="*/ 5352 w 9959"/>
                <a:gd name="connsiteY27" fmla="*/ 8344 h 9895"/>
                <a:gd name="connsiteX28" fmla="*/ 6606 w 9959"/>
                <a:gd name="connsiteY28" fmla="*/ 8249 h 9895"/>
                <a:gd name="connsiteX29" fmla="*/ 8286 w 9959"/>
                <a:gd name="connsiteY29" fmla="*/ 8123 h 9895"/>
                <a:gd name="connsiteX30" fmla="*/ 8677 w 9959"/>
                <a:gd name="connsiteY30" fmla="*/ 8312 h 9895"/>
                <a:gd name="connsiteX31" fmla="*/ 8896 w 9959"/>
                <a:gd name="connsiteY31" fmla="*/ 8406 h 9895"/>
                <a:gd name="connsiteX32" fmla="*/ 8896 w 9959"/>
                <a:gd name="connsiteY32" fmla="*/ 8312 h 9895"/>
                <a:gd name="connsiteX33" fmla="*/ 8726 w 9959"/>
                <a:gd name="connsiteY33" fmla="*/ 7903 h 9895"/>
                <a:gd name="connsiteX34" fmla="*/ 8660 w 9959"/>
                <a:gd name="connsiteY34" fmla="*/ 7587 h 9895"/>
                <a:gd name="connsiteX35" fmla="*/ 8778 w 9959"/>
                <a:gd name="connsiteY35" fmla="*/ 7539 h 9895"/>
                <a:gd name="connsiteX36" fmla="*/ 9611 w 9959"/>
                <a:gd name="connsiteY36" fmla="*/ 7539 h 9895"/>
                <a:gd name="connsiteX37" fmla="*/ 9611 w 9959"/>
                <a:gd name="connsiteY37" fmla="*/ 7287 h 9895"/>
                <a:gd name="connsiteX38" fmla="*/ 9542 w 9959"/>
                <a:gd name="connsiteY38" fmla="*/ 6909 h 9895"/>
                <a:gd name="connsiteX39" fmla="*/ 9508 w 9959"/>
                <a:gd name="connsiteY39" fmla="*/ 6830 h 9895"/>
                <a:gd name="connsiteX40" fmla="*/ 9440 w 9959"/>
                <a:gd name="connsiteY40" fmla="*/ 6719 h 9895"/>
                <a:gd name="connsiteX41" fmla="*/ 9456 w 9959"/>
                <a:gd name="connsiteY41" fmla="*/ 6482 h 9895"/>
                <a:gd name="connsiteX42" fmla="*/ 9526 w 9959"/>
                <a:gd name="connsiteY42" fmla="*/ 6246 h 9895"/>
                <a:gd name="connsiteX43" fmla="*/ 9542 w 9959"/>
                <a:gd name="connsiteY43" fmla="*/ 6104 h 9895"/>
                <a:gd name="connsiteX44" fmla="*/ 9743 w 9959"/>
                <a:gd name="connsiteY44" fmla="*/ 5836 h 9895"/>
                <a:gd name="connsiteX45" fmla="*/ 9812 w 9959"/>
                <a:gd name="connsiteY45" fmla="*/ 5774 h 9895"/>
                <a:gd name="connsiteX46" fmla="*/ 9828 w 9959"/>
                <a:gd name="connsiteY46" fmla="*/ 5741 h 9895"/>
                <a:gd name="connsiteX47" fmla="*/ 9693 w 9959"/>
                <a:gd name="connsiteY47" fmla="*/ 5647 h 9895"/>
                <a:gd name="connsiteX48" fmla="*/ 9574 w 9959"/>
                <a:gd name="connsiteY48" fmla="*/ 5521 h 9895"/>
                <a:gd name="connsiteX49" fmla="*/ 9812 w 9959"/>
                <a:gd name="connsiteY49" fmla="*/ 5174 h 9895"/>
                <a:gd name="connsiteX50" fmla="*/ 9913 w 9959"/>
                <a:gd name="connsiteY50" fmla="*/ 4590 h 9895"/>
                <a:gd name="connsiteX51" fmla="*/ 9897 w 9959"/>
                <a:gd name="connsiteY51" fmla="*/ 4478 h 9895"/>
                <a:gd name="connsiteX0" fmla="*/ 9225 w 9286"/>
                <a:gd name="connsiteY0" fmla="*/ 4526 h 8996"/>
                <a:gd name="connsiteX1" fmla="*/ 9209 w 9286"/>
                <a:gd name="connsiteY1" fmla="*/ 4478 h 8996"/>
                <a:gd name="connsiteX2" fmla="*/ 8527 w 9286"/>
                <a:gd name="connsiteY2" fmla="*/ 3937 h 8996"/>
                <a:gd name="connsiteX3" fmla="*/ 8356 w 9286"/>
                <a:gd name="connsiteY3" fmla="*/ 3826 h 8996"/>
                <a:gd name="connsiteX4" fmla="*/ 8289 w 9286"/>
                <a:gd name="connsiteY4" fmla="*/ 3779 h 8996"/>
                <a:gd name="connsiteX5" fmla="*/ 8084 w 9286"/>
                <a:gd name="connsiteY5" fmla="*/ 3442 h 8996"/>
                <a:gd name="connsiteX6" fmla="*/ 7572 w 9286"/>
                <a:gd name="connsiteY6" fmla="*/ 2694 h 8996"/>
                <a:gd name="connsiteX7" fmla="*/ 7079 w 9286"/>
                <a:gd name="connsiteY7" fmla="*/ 2422 h 8996"/>
                <a:gd name="connsiteX8" fmla="*/ 6857 w 9286"/>
                <a:gd name="connsiteY8" fmla="*/ 2311 h 8996"/>
                <a:gd name="connsiteX9" fmla="*/ 6210 w 9286"/>
                <a:gd name="connsiteY9" fmla="*/ 1770 h 8996"/>
                <a:gd name="connsiteX10" fmla="*/ 5376 w 9286"/>
                <a:gd name="connsiteY10" fmla="*/ 956 h 8996"/>
                <a:gd name="connsiteX11" fmla="*/ 4714 w 9286"/>
                <a:gd name="connsiteY11" fmla="*/ 781 h 8996"/>
                <a:gd name="connsiteX12" fmla="*/ 4321 w 9286"/>
                <a:gd name="connsiteY12" fmla="*/ 303 h 8996"/>
                <a:gd name="connsiteX13" fmla="*/ 4373 w 9286"/>
                <a:gd name="connsiteY13" fmla="*/ 0 h 8996"/>
                <a:gd name="connsiteX14" fmla="*/ 3417 w 9286"/>
                <a:gd name="connsiteY14" fmla="*/ 191 h 8996"/>
                <a:gd name="connsiteX15" fmla="*/ 2654 w 9286"/>
                <a:gd name="connsiteY15" fmla="*/ 270 h 8996"/>
                <a:gd name="connsiteX16" fmla="*/ 2585 w 9286"/>
                <a:gd name="connsiteY16" fmla="*/ 270 h 8996"/>
                <a:gd name="connsiteX17" fmla="*/ 2585 w 9286"/>
                <a:gd name="connsiteY17" fmla="*/ 270 h 8996"/>
                <a:gd name="connsiteX18" fmla="*/ 46 w 9286"/>
                <a:gd name="connsiteY18" fmla="*/ 670 h 8996"/>
                <a:gd name="connsiteX19" fmla="*/ 1085 w 9286"/>
                <a:gd name="connsiteY19" fmla="*/ 1693 h 8996"/>
                <a:gd name="connsiteX20" fmla="*/ 1321 w 9286"/>
                <a:gd name="connsiteY20" fmla="*/ 2380 h 8996"/>
                <a:gd name="connsiteX21" fmla="*/ 1127 w 9286"/>
                <a:gd name="connsiteY21" fmla="*/ 3210 h 8996"/>
                <a:gd name="connsiteX22" fmla="*/ 406 w 9286"/>
                <a:gd name="connsiteY22" fmla="*/ 8607 h 8996"/>
                <a:gd name="connsiteX23" fmla="*/ 863 w 9286"/>
                <a:gd name="connsiteY23" fmla="*/ 8576 h 8996"/>
                <a:gd name="connsiteX24" fmla="*/ 3265 w 9286"/>
                <a:gd name="connsiteY24" fmla="*/ 8464 h 8996"/>
                <a:gd name="connsiteX25" fmla="*/ 4066 w 9286"/>
                <a:gd name="connsiteY25" fmla="*/ 8433 h 8996"/>
                <a:gd name="connsiteX26" fmla="*/ 4661 w 9286"/>
                <a:gd name="connsiteY26" fmla="*/ 8433 h 8996"/>
                <a:gd name="connsiteX27" fmla="*/ 5920 w 9286"/>
                <a:gd name="connsiteY27" fmla="*/ 8337 h 8996"/>
                <a:gd name="connsiteX28" fmla="*/ 7607 w 9286"/>
                <a:gd name="connsiteY28" fmla="*/ 8209 h 8996"/>
                <a:gd name="connsiteX29" fmla="*/ 8000 w 9286"/>
                <a:gd name="connsiteY29" fmla="*/ 8400 h 8996"/>
                <a:gd name="connsiteX30" fmla="*/ 8220 w 9286"/>
                <a:gd name="connsiteY30" fmla="*/ 8495 h 8996"/>
                <a:gd name="connsiteX31" fmla="*/ 8220 w 9286"/>
                <a:gd name="connsiteY31" fmla="*/ 8400 h 8996"/>
                <a:gd name="connsiteX32" fmla="*/ 8049 w 9286"/>
                <a:gd name="connsiteY32" fmla="*/ 7987 h 8996"/>
                <a:gd name="connsiteX33" fmla="*/ 7983 w 9286"/>
                <a:gd name="connsiteY33" fmla="*/ 7668 h 8996"/>
                <a:gd name="connsiteX34" fmla="*/ 8101 w 9286"/>
                <a:gd name="connsiteY34" fmla="*/ 7619 h 8996"/>
                <a:gd name="connsiteX35" fmla="*/ 8938 w 9286"/>
                <a:gd name="connsiteY35" fmla="*/ 7619 h 8996"/>
                <a:gd name="connsiteX36" fmla="*/ 8938 w 9286"/>
                <a:gd name="connsiteY36" fmla="*/ 7364 h 8996"/>
                <a:gd name="connsiteX37" fmla="*/ 8868 w 9286"/>
                <a:gd name="connsiteY37" fmla="*/ 6982 h 8996"/>
                <a:gd name="connsiteX38" fmla="*/ 8834 w 9286"/>
                <a:gd name="connsiteY38" fmla="*/ 6902 h 8996"/>
                <a:gd name="connsiteX39" fmla="*/ 8766 w 9286"/>
                <a:gd name="connsiteY39" fmla="*/ 6790 h 8996"/>
                <a:gd name="connsiteX40" fmla="*/ 8782 w 9286"/>
                <a:gd name="connsiteY40" fmla="*/ 6551 h 8996"/>
                <a:gd name="connsiteX41" fmla="*/ 8852 w 9286"/>
                <a:gd name="connsiteY41" fmla="*/ 6312 h 8996"/>
                <a:gd name="connsiteX42" fmla="*/ 8868 w 9286"/>
                <a:gd name="connsiteY42" fmla="*/ 6169 h 8996"/>
                <a:gd name="connsiteX43" fmla="*/ 9070 w 9286"/>
                <a:gd name="connsiteY43" fmla="*/ 5898 h 8996"/>
                <a:gd name="connsiteX44" fmla="*/ 9139 w 9286"/>
                <a:gd name="connsiteY44" fmla="*/ 5835 h 8996"/>
                <a:gd name="connsiteX45" fmla="*/ 9155 w 9286"/>
                <a:gd name="connsiteY45" fmla="*/ 5802 h 8996"/>
                <a:gd name="connsiteX46" fmla="*/ 9020 w 9286"/>
                <a:gd name="connsiteY46" fmla="*/ 5707 h 8996"/>
                <a:gd name="connsiteX47" fmla="*/ 8900 w 9286"/>
                <a:gd name="connsiteY47" fmla="*/ 5580 h 8996"/>
                <a:gd name="connsiteX48" fmla="*/ 9139 w 9286"/>
                <a:gd name="connsiteY48" fmla="*/ 5229 h 8996"/>
                <a:gd name="connsiteX49" fmla="*/ 9241 w 9286"/>
                <a:gd name="connsiteY49" fmla="*/ 4639 h 8996"/>
                <a:gd name="connsiteX50" fmla="*/ 9225 w 9286"/>
                <a:gd name="connsiteY50" fmla="*/ 4526 h 8996"/>
                <a:gd name="connsiteX0" fmla="*/ 9934 w 10000"/>
                <a:gd name="connsiteY0" fmla="*/ 5031 h 9533"/>
                <a:gd name="connsiteX1" fmla="*/ 9917 w 10000"/>
                <a:gd name="connsiteY1" fmla="*/ 4978 h 9533"/>
                <a:gd name="connsiteX2" fmla="*/ 9183 w 10000"/>
                <a:gd name="connsiteY2" fmla="*/ 4376 h 9533"/>
                <a:gd name="connsiteX3" fmla="*/ 8998 w 10000"/>
                <a:gd name="connsiteY3" fmla="*/ 4253 h 9533"/>
                <a:gd name="connsiteX4" fmla="*/ 8926 w 10000"/>
                <a:gd name="connsiteY4" fmla="*/ 4201 h 9533"/>
                <a:gd name="connsiteX5" fmla="*/ 8706 w 10000"/>
                <a:gd name="connsiteY5" fmla="*/ 3826 h 9533"/>
                <a:gd name="connsiteX6" fmla="*/ 8154 w 10000"/>
                <a:gd name="connsiteY6" fmla="*/ 2995 h 9533"/>
                <a:gd name="connsiteX7" fmla="*/ 7623 w 10000"/>
                <a:gd name="connsiteY7" fmla="*/ 2692 h 9533"/>
                <a:gd name="connsiteX8" fmla="*/ 7384 w 10000"/>
                <a:gd name="connsiteY8" fmla="*/ 2569 h 9533"/>
                <a:gd name="connsiteX9" fmla="*/ 6687 w 10000"/>
                <a:gd name="connsiteY9" fmla="*/ 1968 h 9533"/>
                <a:gd name="connsiteX10" fmla="*/ 5789 w 10000"/>
                <a:gd name="connsiteY10" fmla="*/ 1063 h 9533"/>
                <a:gd name="connsiteX11" fmla="*/ 5076 w 10000"/>
                <a:gd name="connsiteY11" fmla="*/ 868 h 9533"/>
                <a:gd name="connsiteX12" fmla="*/ 4653 w 10000"/>
                <a:gd name="connsiteY12" fmla="*/ 337 h 9533"/>
                <a:gd name="connsiteX13" fmla="*/ 4709 w 10000"/>
                <a:gd name="connsiteY13" fmla="*/ 0 h 9533"/>
                <a:gd name="connsiteX14" fmla="*/ 3680 w 10000"/>
                <a:gd name="connsiteY14" fmla="*/ 212 h 9533"/>
                <a:gd name="connsiteX15" fmla="*/ 2858 w 10000"/>
                <a:gd name="connsiteY15" fmla="*/ 300 h 9533"/>
                <a:gd name="connsiteX16" fmla="*/ 2784 w 10000"/>
                <a:gd name="connsiteY16" fmla="*/ 300 h 9533"/>
                <a:gd name="connsiteX17" fmla="*/ 2784 w 10000"/>
                <a:gd name="connsiteY17" fmla="*/ 300 h 9533"/>
                <a:gd name="connsiteX18" fmla="*/ 50 w 10000"/>
                <a:gd name="connsiteY18" fmla="*/ 745 h 9533"/>
                <a:gd name="connsiteX19" fmla="*/ 1168 w 10000"/>
                <a:gd name="connsiteY19" fmla="*/ 1882 h 9533"/>
                <a:gd name="connsiteX20" fmla="*/ 1423 w 10000"/>
                <a:gd name="connsiteY20" fmla="*/ 2646 h 9533"/>
                <a:gd name="connsiteX21" fmla="*/ 1214 w 10000"/>
                <a:gd name="connsiteY21" fmla="*/ 3568 h 9533"/>
                <a:gd name="connsiteX22" fmla="*/ 929 w 10000"/>
                <a:gd name="connsiteY22" fmla="*/ 9533 h 9533"/>
                <a:gd name="connsiteX23" fmla="*/ 3516 w 10000"/>
                <a:gd name="connsiteY23" fmla="*/ 9409 h 9533"/>
                <a:gd name="connsiteX24" fmla="*/ 4379 w 10000"/>
                <a:gd name="connsiteY24" fmla="*/ 9374 h 9533"/>
                <a:gd name="connsiteX25" fmla="*/ 5019 w 10000"/>
                <a:gd name="connsiteY25" fmla="*/ 9374 h 9533"/>
                <a:gd name="connsiteX26" fmla="*/ 6375 w 10000"/>
                <a:gd name="connsiteY26" fmla="*/ 9267 h 9533"/>
                <a:gd name="connsiteX27" fmla="*/ 8192 w 10000"/>
                <a:gd name="connsiteY27" fmla="*/ 9125 h 9533"/>
                <a:gd name="connsiteX28" fmla="*/ 8615 w 10000"/>
                <a:gd name="connsiteY28" fmla="*/ 9337 h 9533"/>
                <a:gd name="connsiteX29" fmla="*/ 8852 w 10000"/>
                <a:gd name="connsiteY29" fmla="*/ 9443 h 9533"/>
                <a:gd name="connsiteX30" fmla="*/ 8852 w 10000"/>
                <a:gd name="connsiteY30" fmla="*/ 9337 h 9533"/>
                <a:gd name="connsiteX31" fmla="*/ 8668 w 10000"/>
                <a:gd name="connsiteY31" fmla="*/ 8878 h 9533"/>
                <a:gd name="connsiteX32" fmla="*/ 8597 w 10000"/>
                <a:gd name="connsiteY32" fmla="*/ 8524 h 9533"/>
                <a:gd name="connsiteX33" fmla="*/ 8724 w 10000"/>
                <a:gd name="connsiteY33" fmla="*/ 8469 h 9533"/>
                <a:gd name="connsiteX34" fmla="*/ 9625 w 10000"/>
                <a:gd name="connsiteY34" fmla="*/ 8469 h 9533"/>
                <a:gd name="connsiteX35" fmla="*/ 9625 w 10000"/>
                <a:gd name="connsiteY35" fmla="*/ 8186 h 9533"/>
                <a:gd name="connsiteX36" fmla="*/ 9550 w 10000"/>
                <a:gd name="connsiteY36" fmla="*/ 7761 h 9533"/>
                <a:gd name="connsiteX37" fmla="*/ 9513 w 10000"/>
                <a:gd name="connsiteY37" fmla="*/ 7672 h 9533"/>
                <a:gd name="connsiteX38" fmla="*/ 9440 w 10000"/>
                <a:gd name="connsiteY38" fmla="*/ 7548 h 9533"/>
                <a:gd name="connsiteX39" fmla="*/ 9457 w 10000"/>
                <a:gd name="connsiteY39" fmla="*/ 7282 h 9533"/>
                <a:gd name="connsiteX40" fmla="*/ 9533 w 10000"/>
                <a:gd name="connsiteY40" fmla="*/ 7016 h 9533"/>
                <a:gd name="connsiteX41" fmla="*/ 9550 w 10000"/>
                <a:gd name="connsiteY41" fmla="*/ 6857 h 9533"/>
                <a:gd name="connsiteX42" fmla="*/ 9767 w 10000"/>
                <a:gd name="connsiteY42" fmla="*/ 6556 h 9533"/>
                <a:gd name="connsiteX43" fmla="*/ 9842 w 10000"/>
                <a:gd name="connsiteY43" fmla="*/ 6486 h 9533"/>
                <a:gd name="connsiteX44" fmla="*/ 9859 w 10000"/>
                <a:gd name="connsiteY44" fmla="*/ 6450 h 9533"/>
                <a:gd name="connsiteX45" fmla="*/ 9714 w 10000"/>
                <a:gd name="connsiteY45" fmla="*/ 6344 h 9533"/>
                <a:gd name="connsiteX46" fmla="*/ 9584 w 10000"/>
                <a:gd name="connsiteY46" fmla="*/ 6203 h 9533"/>
                <a:gd name="connsiteX47" fmla="*/ 9842 w 10000"/>
                <a:gd name="connsiteY47" fmla="*/ 5813 h 9533"/>
                <a:gd name="connsiteX48" fmla="*/ 9952 w 10000"/>
                <a:gd name="connsiteY48" fmla="*/ 5157 h 9533"/>
                <a:gd name="connsiteX49" fmla="*/ 9934 w 10000"/>
                <a:gd name="connsiteY49" fmla="*/ 5031 h 9533"/>
                <a:gd name="connsiteX0" fmla="*/ 9934 w 10000"/>
                <a:gd name="connsiteY0" fmla="*/ 5277 h 9906"/>
                <a:gd name="connsiteX1" fmla="*/ 9917 w 10000"/>
                <a:gd name="connsiteY1" fmla="*/ 5222 h 9906"/>
                <a:gd name="connsiteX2" fmla="*/ 9183 w 10000"/>
                <a:gd name="connsiteY2" fmla="*/ 4590 h 9906"/>
                <a:gd name="connsiteX3" fmla="*/ 8998 w 10000"/>
                <a:gd name="connsiteY3" fmla="*/ 4461 h 9906"/>
                <a:gd name="connsiteX4" fmla="*/ 8926 w 10000"/>
                <a:gd name="connsiteY4" fmla="*/ 4407 h 9906"/>
                <a:gd name="connsiteX5" fmla="*/ 8706 w 10000"/>
                <a:gd name="connsiteY5" fmla="*/ 4013 h 9906"/>
                <a:gd name="connsiteX6" fmla="*/ 8154 w 10000"/>
                <a:gd name="connsiteY6" fmla="*/ 3142 h 9906"/>
                <a:gd name="connsiteX7" fmla="*/ 7623 w 10000"/>
                <a:gd name="connsiteY7" fmla="*/ 2824 h 9906"/>
                <a:gd name="connsiteX8" fmla="*/ 7384 w 10000"/>
                <a:gd name="connsiteY8" fmla="*/ 2695 h 9906"/>
                <a:gd name="connsiteX9" fmla="*/ 6687 w 10000"/>
                <a:gd name="connsiteY9" fmla="*/ 2064 h 9906"/>
                <a:gd name="connsiteX10" fmla="*/ 5789 w 10000"/>
                <a:gd name="connsiteY10" fmla="*/ 1115 h 9906"/>
                <a:gd name="connsiteX11" fmla="*/ 5076 w 10000"/>
                <a:gd name="connsiteY11" fmla="*/ 911 h 9906"/>
                <a:gd name="connsiteX12" fmla="*/ 4653 w 10000"/>
                <a:gd name="connsiteY12" fmla="*/ 354 h 9906"/>
                <a:gd name="connsiteX13" fmla="*/ 4709 w 10000"/>
                <a:gd name="connsiteY13" fmla="*/ 0 h 9906"/>
                <a:gd name="connsiteX14" fmla="*/ 3680 w 10000"/>
                <a:gd name="connsiteY14" fmla="*/ 222 h 9906"/>
                <a:gd name="connsiteX15" fmla="*/ 2858 w 10000"/>
                <a:gd name="connsiteY15" fmla="*/ 315 h 9906"/>
                <a:gd name="connsiteX16" fmla="*/ 2784 w 10000"/>
                <a:gd name="connsiteY16" fmla="*/ 315 h 9906"/>
                <a:gd name="connsiteX17" fmla="*/ 2784 w 10000"/>
                <a:gd name="connsiteY17" fmla="*/ 315 h 9906"/>
                <a:gd name="connsiteX18" fmla="*/ 50 w 10000"/>
                <a:gd name="connsiteY18" fmla="*/ 781 h 9906"/>
                <a:gd name="connsiteX19" fmla="*/ 1168 w 10000"/>
                <a:gd name="connsiteY19" fmla="*/ 1974 h 9906"/>
                <a:gd name="connsiteX20" fmla="*/ 1423 w 10000"/>
                <a:gd name="connsiteY20" fmla="*/ 2776 h 9906"/>
                <a:gd name="connsiteX21" fmla="*/ 1214 w 10000"/>
                <a:gd name="connsiteY21" fmla="*/ 3743 h 9906"/>
                <a:gd name="connsiteX22" fmla="*/ 3516 w 10000"/>
                <a:gd name="connsiteY22" fmla="*/ 9870 h 9906"/>
                <a:gd name="connsiteX23" fmla="*/ 4379 w 10000"/>
                <a:gd name="connsiteY23" fmla="*/ 9833 h 9906"/>
                <a:gd name="connsiteX24" fmla="*/ 5019 w 10000"/>
                <a:gd name="connsiteY24" fmla="*/ 9833 h 9906"/>
                <a:gd name="connsiteX25" fmla="*/ 6375 w 10000"/>
                <a:gd name="connsiteY25" fmla="*/ 9721 h 9906"/>
                <a:gd name="connsiteX26" fmla="*/ 8192 w 10000"/>
                <a:gd name="connsiteY26" fmla="*/ 9572 h 9906"/>
                <a:gd name="connsiteX27" fmla="*/ 8615 w 10000"/>
                <a:gd name="connsiteY27" fmla="*/ 9794 h 9906"/>
                <a:gd name="connsiteX28" fmla="*/ 8852 w 10000"/>
                <a:gd name="connsiteY28" fmla="*/ 9906 h 9906"/>
                <a:gd name="connsiteX29" fmla="*/ 8852 w 10000"/>
                <a:gd name="connsiteY29" fmla="*/ 9794 h 9906"/>
                <a:gd name="connsiteX30" fmla="*/ 8668 w 10000"/>
                <a:gd name="connsiteY30" fmla="*/ 9313 h 9906"/>
                <a:gd name="connsiteX31" fmla="*/ 8597 w 10000"/>
                <a:gd name="connsiteY31" fmla="*/ 8942 h 9906"/>
                <a:gd name="connsiteX32" fmla="*/ 8724 w 10000"/>
                <a:gd name="connsiteY32" fmla="*/ 8884 h 9906"/>
                <a:gd name="connsiteX33" fmla="*/ 9625 w 10000"/>
                <a:gd name="connsiteY33" fmla="*/ 8884 h 9906"/>
                <a:gd name="connsiteX34" fmla="*/ 9625 w 10000"/>
                <a:gd name="connsiteY34" fmla="*/ 8587 h 9906"/>
                <a:gd name="connsiteX35" fmla="*/ 9550 w 10000"/>
                <a:gd name="connsiteY35" fmla="*/ 8141 h 9906"/>
                <a:gd name="connsiteX36" fmla="*/ 9513 w 10000"/>
                <a:gd name="connsiteY36" fmla="*/ 8048 h 9906"/>
                <a:gd name="connsiteX37" fmla="*/ 9440 w 10000"/>
                <a:gd name="connsiteY37" fmla="*/ 7918 h 9906"/>
                <a:gd name="connsiteX38" fmla="*/ 9457 w 10000"/>
                <a:gd name="connsiteY38" fmla="*/ 7639 h 9906"/>
                <a:gd name="connsiteX39" fmla="*/ 9533 w 10000"/>
                <a:gd name="connsiteY39" fmla="*/ 7360 h 9906"/>
                <a:gd name="connsiteX40" fmla="*/ 9550 w 10000"/>
                <a:gd name="connsiteY40" fmla="*/ 7193 h 9906"/>
                <a:gd name="connsiteX41" fmla="*/ 9767 w 10000"/>
                <a:gd name="connsiteY41" fmla="*/ 6877 h 9906"/>
                <a:gd name="connsiteX42" fmla="*/ 9842 w 10000"/>
                <a:gd name="connsiteY42" fmla="*/ 6804 h 9906"/>
                <a:gd name="connsiteX43" fmla="*/ 9859 w 10000"/>
                <a:gd name="connsiteY43" fmla="*/ 6766 h 9906"/>
                <a:gd name="connsiteX44" fmla="*/ 9714 w 10000"/>
                <a:gd name="connsiteY44" fmla="*/ 6655 h 9906"/>
                <a:gd name="connsiteX45" fmla="*/ 9584 w 10000"/>
                <a:gd name="connsiteY45" fmla="*/ 6507 h 9906"/>
                <a:gd name="connsiteX46" fmla="*/ 9842 w 10000"/>
                <a:gd name="connsiteY46" fmla="*/ 6098 h 9906"/>
                <a:gd name="connsiteX47" fmla="*/ 9952 w 10000"/>
                <a:gd name="connsiteY47" fmla="*/ 5410 h 9906"/>
                <a:gd name="connsiteX48" fmla="*/ 9934 w 10000"/>
                <a:gd name="connsiteY48" fmla="*/ 5277 h 9906"/>
                <a:gd name="connsiteX0" fmla="*/ 9934 w 10000"/>
                <a:gd name="connsiteY0" fmla="*/ 5327 h 10000"/>
                <a:gd name="connsiteX1" fmla="*/ 9917 w 10000"/>
                <a:gd name="connsiteY1" fmla="*/ 5272 h 10000"/>
                <a:gd name="connsiteX2" fmla="*/ 9183 w 10000"/>
                <a:gd name="connsiteY2" fmla="*/ 4634 h 10000"/>
                <a:gd name="connsiteX3" fmla="*/ 8998 w 10000"/>
                <a:gd name="connsiteY3" fmla="*/ 4503 h 10000"/>
                <a:gd name="connsiteX4" fmla="*/ 8926 w 10000"/>
                <a:gd name="connsiteY4" fmla="*/ 4449 h 10000"/>
                <a:gd name="connsiteX5" fmla="*/ 8706 w 10000"/>
                <a:gd name="connsiteY5" fmla="*/ 4051 h 10000"/>
                <a:gd name="connsiteX6" fmla="*/ 8154 w 10000"/>
                <a:gd name="connsiteY6" fmla="*/ 3172 h 10000"/>
                <a:gd name="connsiteX7" fmla="*/ 7623 w 10000"/>
                <a:gd name="connsiteY7" fmla="*/ 2851 h 10000"/>
                <a:gd name="connsiteX8" fmla="*/ 7384 w 10000"/>
                <a:gd name="connsiteY8" fmla="*/ 2721 h 10000"/>
                <a:gd name="connsiteX9" fmla="*/ 6687 w 10000"/>
                <a:gd name="connsiteY9" fmla="*/ 2084 h 10000"/>
                <a:gd name="connsiteX10" fmla="*/ 5789 w 10000"/>
                <a:gd name="connsiteY10" fmla="*/ 1126 h 10000"/>
                <a:gd name="connsiteX11" fmla="*/ 5076 w 10000"/>
                <a:gd name="connsiteY11" fmla="*/ 920 h 10000"/>
                <a:gd name="connsiteX12" fmla="*/ 4653 w 10000"/>
                <a:gd name="connsiteY12" fmla="*/ 357 h 10000"/>
                <a:gd name="connsiteX13" fmla="*/ 4709 w 10000"/>
                <a:gd name="connsiteY13" fmla="*/ 0 h 10000"/>
                <a:gd name="connsiteX14" fmla="*/ 3680 w 10000"/>
                <a:gd name="connsiteY14" fmla="*/ 224 h 10000"/>
                <a:gd name="connsiteX15" fmla="*/ 2858 w 10000"/>
                <a:gd name="connsiteY15" fmla="*/ 318 h 10000"/>
                <a:gd name="connsiteX16" fmla="*/ 2784 w 10000"/>
                <a:gd name="connsiteY16" fmla="*/ 318 h 10000"/>
                <a:gd name="connsiteX17" fmla="*/ 2784 w 10000"/>
                <a:gd name="connsiteY17" fmla="*/ 318 h 10000"/>
                <a:gd name="connsiteX18" fmla="*/ 50 w 10000"/>
                <a:gd name="connsiteY18" fmla="*/ 788 h 10000"/>
                <a:gd name="connsiteX19" fmla="*/ 1168 w 10000"/>
                <a:gd name="connsiteY19" fmla="*/ 1993 h 10000"/>
                <a:gd name="connsiteX20" fmla="*/ 1423 w 10000"/>
                <a:gd name="connsiteY20" fmla="*/ 2802 h 10000"/>
                <a:gd name="connsiteX21" fmla="*/ 2912 w 10000"/>
                <a:gd name="connsiteY21" fmla="*/ 7566 h 10000"/>
                <a:gd name="connsiteX22" fmla="*/ 3516 w 10000"/>
                <a:gd name="connsiteY22" fmla="*/ 9964 h 10000"/>
                <a:gd name="connsiteX23" fmla="*/ 4379 w 10000"/>
                <a:gd name="connsiteY23" fmla="*/ 9926 h 10000"/>
                <a:gd name="connsiteX24" fmla="*/ 5019 w 10000"/>
                <a:gd name="connsiteY24" fmla="*/ 9926 h 10000"/>
                <a:gd name="connsiteX25" fmla="*/ 6375 w 10000"/>
                <a:gd name="connsiteY25" fmla="*/ 9813 h 10000"/>
                <a:gd name="connsiteX26" fmla="*/ 8192 w 10000"/>
                <a:gd name="connsiteY26" fmla="*/ 9663 h 10000"/>
                <a:gd name="connsiteX27" fmla="*/ 8615 w 10000"/>
                <a:gd name="connsiteY27" fmla="*/ 9887 h 10000"/>
                <a:gd name="connsiteX28" fmla="*/ 8852 w 10000"/>
                <a:gd name="connsiteY28" fmla="*/ 10000 h 10000"/>
                <a:gd name="connsiteX29" fmla="*/ 8852 w 10000"/>
                <a:gd name="connsiteY29" fmla="*/ 9887 h 10000"/>
                <a:gd name="connsiteX30" fmla="*/ 8668 w 10000"/>
                <a:gd name="connsiteY30" fmla="*/ 9401 h 10000"/>
                <a:gd name="connsiteX31" fmla="*/ 8597 w 10000"/>
                <a:gd name="connsiteY31" fmla="*/ 9027 h 10000"/>
                <a:gd name="connsiteX32" fmla="*/ 8724 w 10000"/>
                <a:gd name="connsiteY32" fmla="*/ 8968 h 10000"/>
                <a:gd name="connsiteX33" fmla="*/ 9625 w 10000"/>
                <a:gd name="connsiteY33" fmla="*/ 8968 h 10000"/>
                <a:gd name="connsiteX34" fmla="*/ 9625 w 10000"/>
                <a:gd name="connsiteY34" fmla="*/ 8668 h 10000"/>
                <a:gd name="connsiteX35" fmla="*/ 9550 w 10000"/>
                <a:gd name="connsiteY35" fmla="*/ 8218 h 10000"/>
                <a:gd name="connsiteX36" fmla="*/ 9513 w 10000"/>
                <a:gd name="connsiteY36" fmla="*/ 8124 h 10000"/>
                <a:gd name="connsiteX37" fmla="*/ 9440 w 10000"/>
                <a:gd name="connsiteY37" fmla="*/ 7993 h 10000"/>
                <a:gd name="connsiteX38" fmla="*/ 9457 w 10000"/>
                <a:gd name="connsiteY38" fmla="*/ 7711 h 10000"/>
                <a:gd name="connsiteX39" fmla="*/ 9533 w 10000"/>
                <a:gd name="connsiteY39" fmla="*/ 7430 h 10000"/>
                <a:gd name="connsiteX40" fmla="*/ 9550 w 10000"/>
                <a:gd name="connsiteY40" fmla="*/ 7261 h 10000"/>
                <a:gd name="connsiteX41" fmla="*/ 9767 w 10000"/>
                <a:gd name="connsiteY41" fmla="*/ 6942 h 10000"/>
                <a:gd name="connsiteX42" fmla="*/ 9842 w 10000"/>
                <a:gd name="connsiteY42" fmla="*/ 6869 h 10000"/>
                <a:gd name="connsiteX43" fmla="*/ 9859 w 10000"/>
                <a:gd name="connsiteY43" fmla="*/ 6830 h 10000"/>
                <a:gd name="connsiteX44" fmla="*/ 9714 w 10000"/>
                <a:gd name="connsiteY44" fmla="*/ 6718 h 10000"/>
                <a:gd name="connsiteX45" fmla="*/ 9584 w 10000"/>
                <a:gd name="connsiteY45" fmla="*/ 6569 h 10000"/>
                <a:gd name="connsiteX46" fmla="*/ 9842 w 10000"/>
                <a:gd name="connsiteY46" fmla="*/ 6156 h 10000"/>
                <a:gd name="connsiteX47" fmla="*/ 9952 w 10000"/>
                <a:gd name="connsiteY47" fmla="*/ 5461 h 10000"/>
                <a:gd name="connsiteX48" fmla="*/ 9934 w 10000"/>
                <a:gd name="connsiteY48" fmla="*/ 5327 h 10000"/>
                <a:gd name="connsiteX0" fmla="*/ 9934 w 10000"/>
                <a:gd name="connsiteY0" fmla="*/ 5327 h 10000"/>
                <a:gd name="connsiteX1" fmla="*/ 9917 w 10000"/>
                <a:gd name="connsiteY1" fmla="*/ 5272 h 10000"/>
                <a:gd name="connsiteX2" fmla="*/ 9183 w 10000"/>
                <a:gd name="connsiteY2" fmla="*/ 4634 h 10000"/>
                <a:gd name="connsiteX3" fmla="*/ 8998 w 10000"/>
                <a:gd name="connsiteY3" fmla="*/ 4503 h 10000"/>
                <a:gd name="connsiteX4" fmla="*/ 8926 w 10000"/>
                <a:gd name="connsiteY4" fmla="*/ 4449 h 10000"/>
                <a:gd name="connsiteX5" fmla="*/ 8706 w 10000"/>
                <a:gd name="connsiteY5" fmla="*/ 4051 h 10000"/>
                <a:gd name="connsiteX6" fmla="*/ 8154 w 10000"/>
                <a:gd name="connsiteY6" fmla="*/ 3172 h 10000"/>
                <a:gd name="connsiteX7" fmla="*/ 7623 w 10000"/>
                <a:gd name="connsiteY7" fmla="*/ 2851 h 10000"/>
                <a:gd name="connsiteX8" fmla="*/ 7384 w 10000"/>
                <a:gd name="connsiteY8" fmla="*/ 2721 h 10000"/>
                <a:gd name="connsiteX9" fmla="*/ 6687 w 10000"/>
                <a:gd name="connsiteY9" fmla="*/ 2084 h 10000"/>
                <a:gd name="connsiteX10" fmla="*/ 5789 w 10000"/>
                <a:gd name="connsiteY10" fmla="*/ 1126 h 10000"/>
                <a:gd name="connsiteX11" fmla="*/ 5076 w 10000"/>
                <a:gd name="connsiteY11" fmla="*/ 920 h 10000"/>
                <a:gd name="connsiteX12" fmla="*/ 4653 w 10000"/>
                <a:gd name="connsiteY12" fmla="*/ 357 h 10000"/>
                <a:gd name="connsiteX13" fmla="*/ 4709 w 10000"/>
                <a:gd name="connsiteY13" fmla="*/ 0 h 10000"/>
                <a:gd name="connsiteX14" fmla="*/ 3680 w 10000"/>
                <a:gd name="connsiteY14" fmla="*/ 224 h 10000"/>
                <a:gd name="connsiteX15" fmla="*/ 2858 w 10000"/>
                <a:gd name="connsiteY15" fmla="*/ 318 h 10000"/>
                <a:gd name="connsiteX16" fmla="*/ 2784 w 10000"/>
                <a:gd name="connsiteY16" fmla="*/ 318 h 10000"/>
                <a:gd name="connsiteX17" fmla="*/ 2784 w 10000"/>
                <a:gd name="connsiteY17" fmla="*/ 318 h 10000"/>
                <a:gd name="connsiteX18" fmla="*/ 50 w 10000"/>
                <a:gd name="connsiteY18" fmla="*/ 788 h 10000"/>
                <a:gd name="connsiteX19" fmla="*/ 1168 w 10000"/>
                <a:gd name="connsiteY19" fmla="*/ 1993 h 10000"/>
                <a:gd name="connsiteX20" fmla="*/ 2452 w 10000"/>
                <a:gd name="connsiteY20" fmla="*/ 6011 h 10000"/>
                <a:gd name="connsiteX21" fmla="*/ 2912 w 10000"/>
                <a:gd name="connsiteY21" fmla="*/ 7566 h 10000"/>
                <a:gd name="connsiteX22" fmla="*/ 3516 w 10000"/>
                <a:gd name="connsiteY22" fmla="*/ 9964 h 10000"/>
                <a:gd name="connsiteX23" fmla="*/ 4379 w 10000"/>
                <a:gd name="connsiteY23" fmla="*/ 9926 h 10000"/>
                <a:gd name="connsiteX24" fmla="*/ 5019 w 10000"/>
                <a:gd name="connsiteY24" fmla="*/ 9926 h 10000"/>
                <a:gd name="connsiteX25" fmla="*/ 6375 w 10000"/>
                <a:gd name="connsiteY25" fmla="*/ 9813 h 10000"/>
                <a:gd name="connsiteX26" fmla="*/ 8192 w 10000"/>
                <a:gd name="connsiteY26" fmla="*/ 9663 h 10000"/>
                <a:gd name="connsiteX27" fmla="*/ 8615 w 10000"/>
                <a:gd name="connsiteY27" fmla="*/ 9887 h 10000"/>
                <a:gd name="connsiteX28" fmla="*/ 8852 w 10000"/>
                <a:gd name="connsiteY28" fmla="*/ 10000 h 10000"/>
                <a:gd name="connsiteX29" fmla="*/ 8852 w 10000"/>
                <a:gd name="connsiteY29" fmla="*/ 9887 h 10000"/>
                <a:gd name="connsiteX30" fmla="*/ 8668 w 10000"/>
                <a:gd name="connsiteY30" fmla="*/ 9401 h 10000"/>
                <a:gd name="connsiteX31" fmla="*/ 8597 w 10000"/>
                <a:gd name="connsiteY31" fmla="*/ 9027 h 10000"/>
                <a:gd name="connsiteX32" fmla="*/ 8724 w 10000"/>
                <a:gd name="connsiteY32" fmla="*/ 8968 h 10000"/>
                <a:gd name="connsiteX33" fmla="*/ 9625 w 10000"/>
                <a:gd name="connsiteY33" fmla="*/ 8968 h 10000"/>
                <a:gd name="connsiteX34" fmla="*/ 9625 w 10000"/>
                <a:gd name="connsiteY34" fmla="*/ 8668 h 10000"/>
                <a:gd name="connsiteX35" fmla="*/ 9550 w 10000"/>
                <a:gd name="connsiteY35" fmla="*/ 8218 h 10000"/>
                <a:gd name="connsiteX36" fmla="*/ 9513 w 10000"/>
                <a:gd name="connsiteY36" fmla="*/ 8124 h 10000"/>
                <a:gd name="connsiteX37" fmla="*/ 9440 w 10000"/>
                <a:gd name="connsiteY37" fmla="*/ 7993 h 10000"/>
                <a:gd name="connsiteX38" fmla="*/ 9457 w 10000"/>
                <a:gd name="connsiteY38" fmla="*/ 7711 h 10000"/>
                <a:gd name="connsiteX39" fmla="*/ 9533 w 10000"/>
                <a:gd name="connsiteY39" fmla="*/ 7430 h 10000"/>
                <a:gd name="connsiteX40" fmla="*/ 9550 w 10000"/>
                <a:gd name="connsiteY40" fmla="*/ 7261 h 10000"/>
                <a:gd name="connsiteX41" fmla="*/ 9767 w 10000"/>
                <a:gd name="connsiteY41" fmla="*/ 6942 h 10000"/>
                <a:gd name="connsiteX42" fmla="*/ 9842 w 10000"/>
                <a:gd name="connsiteY42" fmla="*/ 6869 h 10000"/>
                <a:gd name="connsiteX43" fmla="*/ 9859 w 10000"/>
                <a:gd name="connsiteY43" fmla="*/ 6830 h 10000"/>
                <a:gd name="connsiteX44" fmla="*/ 9714 w 10000"/>
                <a:gd name="connsiteY44" fmla="*/ 6718 h 10000"/>
                <a:gd name="connsiteX45" fmla="*/ 9584 w 10000"/>
                <a:gd name="connsiteY45" fmla="*/ 6569 h 10000"/>
                <a:gd name="connsiteX46" fmla="*/ 9842 w 10000"/>
                <a:gd name="connsiteY46" fmla="*/ 6156 h 10000"/>
                <a:gd name="connsiteX47" fmla="*/ 9952 w 10000"/>
                <a:gd name="connsiteY47" fmla="*/ 5461 h 10000"/>
                <a:gd name="connsiteX48" fmla="*/ 9934 w 10000"/>
                <a:gd name="connsiteY48" fmla="*/ 5327 h 10000"/>
                <a:gd name="connsiteX0" fmla="*/ 9246 w 9312"/>
                <a:gd name="connsiteY0" fmla="*/ 5327 h 10000"/>
                <a:gd name="connsiteX1" fmla="*/ 9229 w 9312"/>
                <a:gd name="connsiteY1" fmla="*/ 5272 h 10000"/>
                <a:gd name="connsiteX2" fmla="*/ 8495 w 9312"/>
                <a:gd name="connsiteY2" fmla="*/ 4634 h 10000"/>
                <a:gd name="connsiteX3" fmla="*/ 8310 w 9312"/>
                <a:gd name="connsiteY3" fmla="*/ 4503 h 10000"/>
                <a:gd name="connsiteX4" fmla="*/ 8238 w 9312"/>
                <a:gd name="connsiteY4" fmla="*/ 4449 h 10000"/>
                <a:gd name="connsiteX5" fmla="*/ 8018 w 9312"/>
                <a:gd name="connsiteY5" fmla="*/ 4051 h 10000"/>
                <a:gd name="connsiteX6" fmla="*/ 7466 w 9312"/>
                <a:gd name="connsiteY6" fmla="*/ 3172 h 10000"/>
                <a:gd name="connsiteX7" fmla="*/ 6935 w 9312"/>
                <a:gd name="connsiteY7" fmla="*/ 2851 h 10000"/>
                <a:gd name="connsiteX8" fmla="*/ 6696 w 9312"/>
                <a:gd name="connsiteY8" fmla="*/ 2721 h 10000"/>
                <a:gd name="connsiteX9" fmla="*/ 5999 w 9312"/>
                <a:gd name="connsiteY9" fmla="*/ 2084 h 10000"/>
                <a:gd name="connsiteX10" fmla="*/ 5101 w 9312"/>
                <a:gd name="connsiteY10" fmla="*/ 1126 h 10000"/>
                <a:gd name="connsiteX11" fmla="*/ 4388 w 9312"/>
                <a:gd name="connsiteY11" fmla="*/ 920 h 10000"/>
                <a:gd name="connsiteX12" fmla="*/ 3965 w 9312"/>
                <a:gd name="connsiteY12" fmla="*/ 357 h 10000"/>
                <a:gd name="connsiteX13" fmla="*/ 4021 w 9312"/>
                <a:gd name="connsiteY13" fmla="*/ 0 h 10000"/>
                <a:gd name="connsiteX14" fmla="*/ 2992 w 9312"/>
                <a:gd name="connsiteY14" fmla="*/ 224 h 10000"/>
                <a:gd name="connsiteX15" fmla="*/ 2170 w 9312"/>
                <a:gd name="connsiteY15" fmla="*/ 318 h 10000"/>
                <a:gd name="connsiteX16" fmla="*/ 2096 w 9312"/>
                <a:gd name="connsiteY16" fmla="*/ 318 h 10000"/>
                <a:gd name="connsiteX17" fmla="*/ 2096 w 9312"/>
                <a:gd name="connsiteY17" fmla="*/ 318 h 10000"/>
                <a:gd name="connsiteX18" fmla="*/ 83 w 9312"/>
                <a:gd name="connsiteY18" fmla="*/ 683 h 10000"/>
                <a:gd name="connsiteX19" fmla="*/ 480 w 9312"/>
                <a:gd name="connsiteY19" fmla="*/ 1993 h 10000"/>
                <a:gd name="connsiteX20" fmla="*/ 1764 w 9312"/>
                <a:gd name="connsiteY20" fmla="*/ 6011 h 10000"/>
                <a:gd name="connsiteX21" fmla="*/ 2224 w 9312"/>
                <a:gd name="connsiteY21" fmla="*/ 7566 h 10000"/>
                <a:gd name="connsiteX22" fmla="*/ 2828 w 9312"/>
                <a:gd name="connsiteY22" fmla="*/ 9964 h 10000"/>
                <a:gd name="connsiteX23" fmla="*/ 3691 w 9312"/>
                <a:gd name="connsiteY23" fmla="*/ 9926 h 10000"/>
                <a:gd name="connsiteX24" fmla="*/ 4331 w 9312"/>
                <a:gd name="connsiteY24" fmla="*/ 9926 h 10000"/>
                <a:gd name="connsiteX25" fmla="*/ 5687 w 9312"/>
                <a:gd name="connsiteY25" fmla="*/ 9813 h 10000"/>
                <a:gd name="connsiteX26" fmla="*/ 7504 w 9312"/>
                <a:gd name="connsiteY26" fmla="*/ 9663 h 10000"/>
                <a:gd name="connsiteX27" fmla="*/ 7927 w 9312"/>
                <a:gd name="connsiteY27" fmla="*/ 9887 h 10000"/>
                <a:gd name="connsiteX28" fmla="*/ 8164 w 9312"/>
                <a:gd name="connsiteY28" fmla="*/ 10000 h 10000"/>
                <a:gd name="connsiteX29" fmla="*/ 8164 w 9312"/>
                <a:gd name="connsiteY29" fmla="*/ 9887 h 10000"/>
                <a:gd name="connsiteX30" fmla="*/ 7980 w 9312"/>
                <a:gd name="connsiteY30" fmla="*/ 9401 h 10000"/>
                <a:gd name="connsiteX31" fmla="*/ 7909 w 9312"/>
                <a:gd name="connsiteY31" fmla="*/ 9027 h 10000"/>
                <a:gd name="connsiteX32" fmla="*/ 8036 w 9312"/>
                <a:gd name="connsiteY32" fmla="*/ 8968 h 10000"/>
                <a:gd name="connsiteX33" fmla="*/ 8937 w 9312"/>
                <a:gd name="connsiteY33" fmla="*/ 8968 h 10000"/>
                <a:gd name="connsiteX34" fmla="*/ 8937 w 9312"/>
                <a:gd name="connsiteY34" fmla="*/ 8668 h 10000"/>
                <a:gd name="connsiteX35" fmla="*/ 8862 w 9312"/>
                <a:gd name="connsiteY35" fmla="*/ 8218 h 10000"/>
                <a:gd name="connsiteX36" fmla="*/ 8825 w 9312"/>
                <a:gd name="connsiteY36" fmla="*/ 8124 h 10000"/>
                <a:gd name="connsiteX37" fmla="*/ 8752 w 9312"/>
                <a:gd name="connsiteY37" fmla="*/ 7993 h 10000"/>
                <a:gd name="connsiteX38" fmla="*/ 8769 w 9312"/>
                <a:gd name="connsiteY38" fmla="*/ 7711 h 10000"/>
                <a:gd name="connsiteX39" fmla="*/ 8845 w 9312"/>
                <a:gd name="connsiteY39" fmla="*/ 7430 h 10000"/>
                <a:gd name="connsiteX40" fmla="*/ 8862 w 9312"/>
                <a:gd name="connsiteY40" fmla="*/ 7261 h 10000"/>
                <a:gd name="connsiteX41" fmla="*/ 9079 w 9312"/>
                <a:gd name="connsiteY41" fmla="*/ 6942 h 10000"/>
                <a:gd name="connsiteX42" fmla="*/ 9154 w 9312"/>
                <a:gd name="connsiteY42" fmla="*/ 6869 h 10000"/>
                <a:gd name="connsiteX43" fmla="*/ 9171 w 9312"/>
                <a:gd name="connsiteY43" fmla="*/ 6830 h 10000"/>
                <a:gd name="connsiteX44" fmla="*/ 9026 w 9312"/>
                <a:gd name="connsiteY44" fmla="*/ 6718 h 10000"/>
                <a:gd name="connsiteX45" fmla="*/ 8896 w 9312"/>
                <a:gd name="connsiteY45" fmla="*/ 6569 h 10000"/>
                <a:gd name="connsiteX46" fmla="*/ 9154 w 9312"/>
                <a:gd name="connsiteY46" fmla="*/ 6156 h 10000"/>
                <a:gd name="connsiteX47" fmla="*/ 9264 w 9312"/>
                <a:gd name="connsiteY47" fmla="*/ 5461 h 10000"/>
                <a:gd name="connsiteX48" fmla="*/ 9246 w 9312"/>
                <a:gd name="connsiteY48" fmla="*/ 532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312" h="10000">
                  <a:moveTo>
                    <a:pt x="9246" y="5327"/>
                  </a:moveTo>
                  <a:cubicBezTo>
                    <a:pt x="9229" y="5310"/>
                    <a:pt x="9229" y="5292"/>
                    <a:pt x="9229" y="5272"/>
                  </a:cubicBezTo>
                  <a:cubicBezTo>
                    <a:pt x="9209" y="5159"/>
                    <a:pt x="8662" y="4766"/>
                    <a:pt x="8495" y="4634"/>
                  </a:cubicBezTo>
                  <a:cubicBezTo>
                    <a:pt x="8404" y="4579"/>
                    <a:pt x="8347" y="4522"/>
                    <a:pt x="8310" y="4503"/>
                  </a:cubicBezTo>
                  <a:cubicBezTo>
                    <a:pt x="8293" y="4483"/>
                    <a:pt x="8256" y="4466"/>
                    <a:pt x="8238" y="4449"/>
                  </a:cubicBezTo>
                  <a:cubicBezTo>
                    <a:pt x="8127" y="4372"/>
                    <a:pt x="8036" y="4296"/>
                    <a:pt x="8018" y="4051"/>
                  </a:cubicBezTo>
                  <a:cubicBezTo>
                    <a:pt x="7980" y="3827"/>
                    <a:pt x="7688" y="3396"/>
                    <a:pt x="7466" y="3172"/>
                  </a:cubicBezTo>
                  <a:cubicBezTo>
                    <a:pt x="7321" y="3040"/>
                    <a:pt x="7118" y="2925"/>
                    <a:pt x="6935" y="2851"/>
                  </a:cubicBezTo>
                  <a:cubicBezTo>
                    <a:pt x="6846" y="2794"/>
                    <a:pt x="6771" y="2758"/>
                    <a:pt x="6696" y="2721"/>
                  </a:cubicBezTo>
                  <a:cubicBezTo>
                    <a:pt x="6478" y="2588"/>
                    <a:pt x="6221" y="2364"/>
                    <a:pt x="5999" y="2084"/>
                  </a:cubicBezTo>
                  <a:cubicBezTo>
                    <a:pt x="5781" y="1839"/>
                    <a:pt x="5266" y="1276"/>
                    <a:pt x="5101" y="1126"/>
                  </a:cubicBezTo>
                  <a:cubicBezTo>
                    <a:pt x="5010" y="1013"/>
                    <a:pt x="4754" y="957"/>
                    <a:pt x="4388" y="920"/>
                  </a:cubicBezTo>
                  <a:cubicBezTo>
                    <a:pt x="4075" y="900"/>
                    <a:pt x="4021" y="675"/>
                    <a:pt x="3965" y="357"/>
                  </a:cubicBezTo>
                  <a:cubicBezTo>
                    <a:pt x="3948" y="224"/>
                    <a:pt x="3985" y="93"/>
                    <a:pt x="4021" y="0"/>
                  </a:cubicBezTo>
                  <a:cubicBezTo>
                    <a:pt x="3764" y="93"/>
                    <a:pt x="3286" y="189"/>
                    <a:pt x="2992" y="224"/>
                  </a:cubicBezTo>
                  <a:cubicBezTo>
                    <a:pt x="2516" y="300"/>
                    <a:pt x="2277" y="318"/>
                    <a:pt x="2170" y="318"/>
                  </a:cubicBezTo>
                  <a:lnTo>
                    <a:pt x="2096" y="318"/>
                  </a:lnTo>
                  <a:lnTo>
                    <a:pt x="2096" y="318"/>
                  </a:lnTo>
                  <a:cubicBezTo>
                    <a:pt x="1761" y="379"/>
                    <a:pt x="1018" y="496"/>
                    <a:pt x="83" y="683"/>
                  </a:cubicBezTo>
                  <a:cubicBezTo>
                    <a:pt x="-264" y="759"/>
                    <a:pt x="610" y="1973"/>
                    <a:pt x="480" y="1993"/>
                  </a:cubicBezTo>
                  <a:cubicBezTo>
                    <a:pt x="391" y="2011"/>
                    <a:pt x="1473" y="5082"/>
                    <a:pt x="1764" y="6011"/>
                  </a:cubicBezTo>
                  <a:cubicBezTo>
                    <a:pt x="2055" y="6940"/>
                    <a:pt x="2811" y="7471"/>
                    <a:pt x="2224" y="7566"/>
                  </a:cubicBezTo>
                  <a:cubicBezTo>
                    <a:pt x="2573" y="8759"/>
                    <a:pt x="2301" y="8939"/>
                    <a:pt x="2828" y="9964"/>
                  </a:cubicBezTo>
                  <a:lnTo>
                    <a:pt x="3691" y="9926"/>
                  </a:lnTo>
                  <a:lnTo>
                    <a:pt x="4331" y="9926"/>
                  </a:lnTo>
                  <a:cubicBezTo>
                    <a:pt x="4845" y="9926"/>
                    <a:pt x="5430" y="9926"/>
                    <a:pt x="5687" y="9813"/>
                  </a:cubicBezTo>
                  <a:cubicBezTo>
                    <a:pt x="6074" y="9643"/>
                    <a:pt x="7044" y="9514"/>
                    <a:pt x="7504" y="9663"/>
                  </a:cubicBezTo>
                  <a:cubicBezTo>
                    <a:pt x="7650" y="9720"/>
                    <a:pt x="7798" y="9813"/>
                    <a:pt x="7927" y="9887"/>
                  </a:cubicBezTo>
                  <a:cubicBezTo>
                    <a:pt x="7999" y="9926"/>
                    <a:pt x="8127" y="10000"/>
                    <a:pt x="8164" y="10000"/>
                  </a:cubicBezTo>
                  <a:cubicBezTo>
                    <a:pt x="8186" y="10000"/>
                    <a:pt x="8186" y="9964"/>
                    <a:pt x="8164" y="9887"/>
                  </a:cubicBezTo>
                  <a:cubicBezTo>
                    <a:pt x="8127" y="9701"/>
                    <a:pt x="8055" y="9532"/>
                    <a:pt x="7980" y="9401"/>
                  </a:cubicBezTo>
                  <a:cubicBezTo>
                    <a:pt x="7909" y="9232"/>
                    <a:pt x="7851" y="9120"/>
                    <a:pt x="7909" y="9027"/>
                  </a:cubicBezTo>
                  <a:cubicBezTo>
                    <a:pt x="7927" y="9007"/>
                    <a:pt x="7962" y="8968"/>
                    <a:pt x="8036" y="8968"/>
                  </a:cubicBezTo>
                  <a:lnTo>
                    <a:pt x="8937" y="8968"/>
                  </a:lnTo>
                  <a:lnTo>
                    <a:pt x="8937" y="8668"/>
                  </a:lnTo>
                  <a:cubicBezTo>
                    <a:pt x="8973" y="8425"/>
                    <a:pt x="8937" y="8349"/>
                    <a:pt x="8862" y="8218"/>
                  </a:cubicBezTo>
                  <a:cubicBezTo>
                    <a:pt x="8862" y="8181"/>
                    <a:pt x="8845" y="8163"/>
                    <a:pt x="8825" y="8124"/>
                  </a:cubicBezTo>
                  <a:cubicBezTo>
                    <a:pt x="8808" y="8068"/>
                    <a:pt x="8769" y="8031"/>
                    <a:pt x="8752" y="7993"/>
                  </a:cubicBezTo>
                  <a:cubicBezTo>
                    <a:pt x="8696" y="7918"/>
                    <a:pt x="8641" y="7826"/>
                    <a:pt x="8769" y="7711"/>
                  </a:cubicBezTo>
                  <a:cubicBezTo>
                    <a:pt x="8825" y="7635"/>
                    <a:pt x="8845" y="7561"/>
                    <a:pt x="8845" y="7430"/>
                  </a:cubicBezTo>
                  <a:cubicBezTo>
                    <a:pt x="8862" y="7374"/>
                    <a:pt x="8862" y="7318"/>
                    <a:pt x="8862" y="7261"/>
                  </a:cubicBezTo>
                  <a:cubicBezTo>
                    <a:pt x="8896" y="7075"/>
                    <a:pt x="8990" y="7000"/>
                    <a:pt x="9079" y="6942"/>
                  </a:cubicBezTo>
                  <a:cubicBezTo>
                    <a:pt x="9100" y="6923"/>
                    <a:pt x="9135" y="6887"/>
                    <a:pt x="9154" y="6869"/>
                  </a:cubicBezTo>
                  <a:cubicBezTo>
                    <a:pt x="9171" y="6848"/>
                    <a:pt x="9171" y="6830"/>
                    <a:pt x="9171" y="6830"/>
                  </a:cubicBezTo>
                  <a:cubicBezTo>
                    <a:pt x="9154" y="6794"/>
                    <a:pt x="9100" y="6737"/>
                    <a:pt x="9026" y="6718"/>
                  </a:cubicBezTo>
                  <a:cubicBezTo>
                    <a:pt x="8953" y="6681"/>
                    <a:pt x="8914" y="6623"/>
                    <a:pt x="8896" y="6569"/>
                  </a:cubicBezTo>
                  <a:cubicBezTo>
                    <a:pt x="8879" y="6435"/>
                    <a:pt x="8973" y="6304"/>
                    <a:pt x="9154" y="6156"/>
                  </a:cubicBezTo>
                  <a:cubicBezTo>
                    <a:pt x="9374" y="5984"/>
                    <a:pt x="9318" y="5705"/>
                    <a:pt x="9264" y="5461"/>
                  </a:cubicBezTo>
                  <a:cubicBezTo>
                    <a:pt x="9246" y="5424"/>
                    <a:pt x="9246" y="5366"/>
                    <a:pt x="9246" y="5327"/>
                  </a:cubicBezTo>
                  <a:close/>
                </a:path>
              </a:pathLst>
            </a:custGeom>
            <a:solidFill>
              <a:schemeClr val="accent6">
                <a:lumMod val="75000"/>
              </a:schemeClr>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n>
                  <a:solidFill>
                    <a:schemeClr val="bg1"/>
                  </a:solidFill>
                </a:ln>
              </a:endParaRPr>
            </a:p>
          </p:txBody>
        </p:sp>
      </p:grpSp>
      <p:sp>
        <p:nvSpPr>
          <p:cNvPr id="3" name="TextBox 2">
            <a:extLst>
              <a:ext uri="{FF2B5EF4-FFF2-40B4-BE49-F238E27FC236}">
                <a16:creationId xmlns:a16="http://schemas.microsoft.com/office/drawing/2014/main" id="{AABB4132-2AAE-40D3-96C0-9F7D6E7A128D}"/>
              </a:ext>
            </a:extLst>
          </p:cNvPr>
          <p:cNvSpPr txBox="1"/>
          <p:nvPr/>
        </p:nvSpPr>
        <p:spPr>
          <a:xfrm>
            <a:off x="707537" y="1394210"/>
            <a:ext cx="1591256" cy="3785652"/>
          </a:xfrm>
          <a:prstGeom prst="rect">
            <a:avLst/>
          </a:prstGeom>
          <a:noFill/>
        </p:spPr>
        <p:txBody>
          <a:bodyPr wrap="square" rtlCol="0">
            <a:spAutoFit/>
          </a:bodyPr>
          <a:lstStyle/>
          <a:p>
            <a:r>
              <a:rPr lang="en-US" sz="2400" b="1" dirty="0"/>
              <a:t>ACH Debit: </a:t>
            </a:r>
            <a:br>
              <a:rPr lang="en-US" dirty="0"/>
            </a:br>
            <a:r>
              <a:rPr lang="en-US" dirty="0"/>
              <a:t>1) AL</a:t>
            </a:r>
            <a:br>
              <a:rPr lang="en-US" dirty="0"/>
            </a:br>
            <a:r>
              <a:rPr lang="en-US" dirty="0"/>
              <a:t>2) CO</a:t>
            </a:r>
            <a:br>
              <a:rPr lang="en-US" dirty="0"/>
            </a:br>
            <a:r>
              <a:rPr lang="en-US" dirty="0"/>
              <a:t>3) DE</a:t>
            </a:r>
            <a:br>
              <a:rPr lang="en-US" dirty="0"/>
            </a:br>
            <a:r>
              <a:rPr lang="en-US" dirty="0"/>
              <a:t>4) GA</a:t>
            </a:r>
            <a:br>
              <a:rPr lang="en-US" dirty="0"/>
            </a:br>
            <a:r>
              <a:rPr lang="en-US" dirty="0"/>
              <a:t>5) IA</a:t>
            </a:r>
            <a:br>
              <a:rPr lang="en-US" dirty="0"/>
            </a:br>
            <a:r>
              <a:rPr lang="en-US" dirty="0"/>
              <a:t>6) LA </a:t>
            </a:r>
            <a:br>
              <a:rPr lang="en-US" dirty="0"/>
            </a:br>
            <a:r>
              <a:rPr lang="en-US" dirty="0"/>
              <a:t>7) MD</a:t>
            </a:r>
            <a:br>
              <a:rPr lang="en-US" dirty="0"/>
            </a:br>
            <a:r>
              <a:rPr lang="en-US" dirty="0"/>
              <a:t>8) NE</a:t>
            </a:r>
          </a:p>
          <a:p>
            <a:r>
              <a:rPr lang="en-US" dirty="0"/>
              <a:t>9) NY</a:t>
            </a:r>
            <a:br>
              <a:rPr lang="en-US" dirty="0"/>
            </a:br>
            <a:r>
              <a:rPr lang="en-US" dirty="0"/>
              <a:t>10) PR</a:t>
            </a:r>
            <a:br>
              <a:rPr lang="en-US" dirty="0"/>
            </a:br>
            <a:r>
              <a:rPr lang="en-US" dirty="0"/>
              <a:t>11) SC</a:t>
            </a:r>
            <a:br>
              <a:rPr lang="en-US" dirty="0"/>
            </a:br>
            <a:r>
              <a:rPr lang="en-US" dirty="0"/>
              <a:t>12) WV</a:t>
            </a:r>
          </a:p>
        </p:txBody>
      </p:sp>
      <p:sp>
        <p:nvSpPr>
          <p:cNvPr id="4" name="TextBox 3">
            <a:extLst>
              <a:ext uri="{FF2B5EF4-FFF2-40B4-BE49-F238E27FC236}">
                <a16:creationId xmlns:a16="http://schemas.microsoft.com/office/drawing/2014/main" id="{FE7D2C94-F940-4B50-8BFE-F669E31767CC}"/>
              </a:ext>
            </a:extLst>
          </p:cNvPr>
          <p:cNvSpPr txBox="1"/>
          <p:nvPr/>
        </p:nvSpPr>
        <p:spPr>
          <a:xfrm>
            <a:off x="1629044" y="5354574"/>
            <a:ext cx="1943481" cy="1200329"/>
          </a:xfrm>
          <a:prstGeom prst="rect">
            <a:avLst/>
          </a:prstGeom>
          <a:noFill/>
        </p:spPr>
        <p:txBody>
          <a:bodyPr wrap="none" rtlCol="0">
            <a:spAutoFit/>
          </a:bodyPr>
          <a:lstStyle/>
          <a:p>
            <a:r>
              <a:rPr lang="en-US" sz="2400" dirty="0"/>
              <a:t>= ACH Credit</a:t>
            </a:r>
            <a:br>
              <a:rPr lang="en-US" sz="2400" dirty="0"/>
            </a:br>
            <a:r>
              <a:rPr lang="en-US" sz="2400" dirty="0"/>
              <a:t>= ACH Debit</a:t>
            </a:r>
            <a:br>
              <a:rPr lang="en-US" sz="2400" dirty="0"/>
            </a:br>
            <a:r>
              <a:rPr lang="en-US" sz="2400" dirty="0"/>
              <a:t>= No Sales Tax</a:t>
            </a:r>
          </a:p>
        </p:txBody>
      </p:sp>
      <p:sp>
        <p:nvSpPr>
          <p:cNvPr id="6" name="TextBox 5">
            <a:extLst>
              <a:ext uri="{FF2B5EF4-FFF2-40B4-BE49-F238E27FC236}">
                <a16:creationId xmlns:a16="http://schemas.microsoft.com/office/drawing/2014/main" id="{3C9B4B74-BB43-4A62-9AE8-041DB61B86F1}"/>
              </a:ext>
            </a:extLst>
          </p:cNvPr>
          <p:cNvSpPr txBox="1"/>
          <p:nvPr/>
        </p:nvSpPr>
        <p:spPr>
          <a:xfrm>
            <a:off x="1348776" y="5444570"/>
            <a:ext cx="265303" cy="264509"/>
          </a:xfrm>
          <a:prstGeom prst="rect">
            <a:avLst/>
          </a:prstGeom>
          <a:solidFill>
            <a:srgbClr val="FF0000"/>
          </a:solidFill>
        </p:spPr>
        <p:txBody>
          <a:bodyPr wrap="square" rtlCol="0">
            <a:spAutoFit/>
          </a:bodyPr>
          <a:lstStyle/>
          <a:p>
            <a:endParaRPr lang="en-US" dirty="0"/>
          </a:p>
        </p:txBody>
      </p:sp>
      <p:sp>
        <p:nvSpPr>
          <p:cNvPr id="97" name="TextBox 96">
            <a:extLst>
              <a:ext uri="{FF2B5EF4-FFF2-40B4-BE49-F238E27FC236}">
                <a16:creationId xmlns:a16="http://schemas.microsoft.com/office/drawing/2014/main" id="{87A035BF-B686-4EE8-A183-C31F3A4AC207}"/>
              </a:ext>
            </a:extLst>
          </p:cNvPr>
          <p:cNvSpPr txBox="1"/>
          <p:nvPr/>
        </p:nvSpPr>
        <p:spPr>
          <a:xfrm>
            <a:off x="1348775" y="5822886"/>
            <a:ext cx="265303" cy="264509"/>
          </a:xfrm>
          <a:prstGeom prst="rect">
            <a:avLst/>
          </a:prstGeom>
          <a:solidFill>
            <a:schemeClr val="accent6">
              <a:lumMod val="75000"/>
            </a:schemeClr>
          </a:solidFill>
        </p:spPr>
        <p:txBody>
          <a:bodyPr wrap="square" rtlCol="0">
            <a:spAutoFit/>
          </a:bodyPr>
          <a:lstStyle/>
          <a:p>
            <a:endParaRPr lang="en-US" dirty="0"/>
          </a:p>
        </p:txBody>
      </p:sp>
      <p:sp>
        <p:nvSpPr>
          <p:cNvPr id="80" name="TextBox 79">
            <a:extLst>
              <a:ext uri="{FF2B5EF4-FFF2-40B4-BE49-F238E27FC236}">
                <a16:creationId xmlns:a16="http://schemas.microsoft.com/office/drawing/2014/main" id="{1A310A99-8C15-4523-B867-1353F1905B05}"/>
              </a:ext>
            </a:extLst>
          </p:cNvPr>
          <p:cNvSpPr txBox="1"/>
          <p:nvPr/>
        </p:nvSpPr>
        <p:spPr>
          <a:xfrm>
            <a:off x="1348774" y="6201202"/>
            <a:ext cx="265303" cy="264509"/>
          </a:xfrm>
          <a:prstGeom prst="rect">
            <a:avLst/>
          </a:prstGeom>
          <a:solidFill>
            <a:srgbClr val="FFC000"/>
          </a:solidFill>
        </p:spPr>
        <p:txBody>
          <a:bodyPr wrap="square" rtlCol="0">
            <a:spAutoFit/>
          </a:bodyPr>
          <a:lstStyle/>
          <a:p>
            <a:endParaRPr lang="en-US" dirty="0"/>
          </a:p>
        </p:txBody>
      </p:sp>
    </p:spTree>
    <p:extLst>
      <p:ext uri="{BB962C8B-B14F-4D97-AF65-F5344CB8AC3E}">
        <p14:creationId xmlns:p14="http://schemas.microsoft.com/office/powerpoint/2010/main" val="27876551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Avalara">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C661E"/>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smtClean="0"/>
        </a:defPPr>
      </a:lstStyle>
    </a:txDef>
  </a:objectDefaults>
  <a:extraClrSchemeLst/>
  <a:custClrLst>
    <a:custClr name="Color 1">
      <a:srgbClr val="3A828C"/>
    </a:custClr>
    <a:custClr name="Color 2">
      <a:srgbClr val="7BBFC8"/>
    </a:custClr>
    <a:custClr name="Color 3">
      <a:srgbClr val="427C5F"/>
    </a:custClr>
    <a:custClr name="Color 4">
      <a:srgbClr val="6CB18E"/>
    </a:custClr>
    <a:custClr name="Color 5">
      <a:srgbClr val="626186"/>
    </a:custClr>
    <a:custClr name="Color 6">
      <a:srgbClr val="9F9EB9"/>
    </a:custClr>
    <a:custClr name="Color 7">
      <a:srgbClr val="794D5E"/>
    </a:custClr>
    <a:custClr name="Color 8">
      <a:srgbClr val="B28198"/>
    </a:custClr>
    <a:custClr name="null">
      <a:srgbClr val="FFFFFF"/>
    </a:custClr>
    <a:custClr name="null">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PPTx Template">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39</TotalTime>
  <Words>1043</Words>
  <Application>Microsoft Office PowerPoint</Application>
  <PresentationFormat>Widescreen</PresentationFormat>
  <Paragraphs>198</Paragraphs>
  <Slides>15</Slides>
  <Notes>1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5</vt:i4>
      </vt:variant>
    </vt:vector>
  </HeadingPairs>
  <TitlesOfParts>
    <vt:vector size="23" baseType="lpstr">
      <vt:lpstr>Arial</vt:lpstr>
      <vt:lpstr>Calibri</vt:lpstr>
      <vt:lpstr>Century Gothic</vt:lpstr>
      <vt:lpstr>Corbel</vt:lpstr>
      <vt:lpstr>Times New Roman</vt:lpstr>
      <vt:lpstr>Verdana</vt:lpstr>
      <vt:lpstr>Wingdings</vt:lpstr>
      <vt:lpstr>Avalara</vt:lpstr>
      <vt:lpstr>PowerPoint Presentation</vt:lpstr>
      <vt:lpstr>PowerPoint Presentation</vt:lpstr>
      <vt:lpstr>Avalara</vt:lpstr>
      <vt:lpstr>Teamwork makes Dreamwork</vt:lpstr>
      <vt:lpstr>2019 Returns Highlights  </vt:lpstr>
      <vt:lpstr>Remittances</vt:lpstr>
      <vt:lpstr>Remittances</vt:lpstr>
      <vt:lpstr>Remittances</vt:lpstr>
      <vt:lpstr>ACH Credit States</vt:lpstr>
      <vt:lpstr>ACH Credit Benefits / Risks </vt:lpstr>
      <vt:lpstr>Returns</vt:lpstr>
      <vt:lpstr>PowerPoint Presentation</vt:lpstr>
      <vt:lpstr>State Summary Filing Capabilities </vt:lpstr>
      <vt:lpstr>PowerPoint Presentation</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valara</dc:creator>
  <cp:lastModifiedBy>Rental End User</cp:lastModifiedBy>
  <cp:revision>928</cp:revision>
  <dcterms:created xsi:type="dcterms:W3CDTF">2017-11-08T21:36:01Z</dcterms:created>
  <dcterms:modified xsi:type="dcterms:W3CDTF">2019-07-16T19: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014971</vt:lpwstr>
  </property>
  <property fmtid="{D5CDD505-2E9C-101B-9397-08002B2CF9AE}" pid="3" name="NXPowerLiteSettings">
    <vt:lpwstr>C980073804F000</vt:lpwstr>
  </property>
  <property fmtid="{D5CDD505-2E9C-101B-9397-08002B2CF9AE}" pid="4" name="NXPowerLiteVersion">
    <vt:lpwstr>D7.1.14</vt:lpwstr>
  </property>
</Properties>
</file>